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163.xml" ContentType="application/vnd.openxmlformats-officedocument.presentationml.tags+xml"/>
  <Override PartName="/ppt/tags/tag164.xml" ContentType="application/vnd.openxmlformats-officedocument.presentationml.tags+xml"/>
  <Override PartName="/ppt/notesSlides/notesSlide6.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39" r:id="rId4"/>
  </p:sldMasterIdLst>
  <p:notesMasterIdLst>
    <p:notesMasterId r:id="rId17"/>
  </p:notesMasterIdLst>
  <p:handoutMasterIdLst>
    <p:handoutMasterId r:id="rId18"/>
  </p:handoutMasterIdLst>
  <p:sldIdLst>
    <p:sldId id="2145709834" r:id="rId5"/>
    <p:sldId id="2145707820" r:id="rId6"/>
    <p:sldId id="388" r:id="rId7"/>
    <p:sldId id="2032093584" r:id="rId8"/>
    <p:sldId id="2032093577" r:id="rId9"/>
    <p:sldId id="2145707822" r:id="rId10"/>
    <p:sldId id="2145709821" r:id="rId11"/>
    <p:sldId id="2145711116" r:id="rId12"/>
    <p:sldId id="2145711115" r:id="rId13"/>
    <p:sldId id="2145709820" r:id="rId14"/>
    <p:sldId id="2032093579" r:id="rId15"/>
    <p:sldId id="261" r:id="rId16"/>
  </p:sldIdLst>
  <p:sldSz cx="9906000" cy="6858000" type="A4"/>
  <p:notesSz cx="6743700" cy="9893300"/>
  <p:custDataLst>
    <p:tags r:id="rId19"/>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16">
          <p15:clr>
            <a:srgbClr val="A4A3A4"/>
          </p15:clr>
        </p15:guide>
        <p15:guide id="2" pos="212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Prusvic" initials="JP" lastIdx="2" clrIdx="0">
    <p:extLst>
      <p:ext uri="{19B8F6BF-5375-455C-9EA6-DF929625EA0E}">
        <p15:presenceInfo xmlns:p15="http://schemas.microsoft.com/office/powerpoint/2012/main" userId="S::jan.prusvic@rolandberger.com::9c8a4f2d-d197-45e0-93a2-0fb862005ab7" providerId="AD"/>
      </p:ext>
    </p:extLst>
  </p:cmAuthor>
  <p:cmAuthor id="2" name="Fundulea, Dragos" initials="FD" lastIdx="10" clrIdx="1">
    <p:extLst>
      <p:ext uri="{19B8F6BF-5375-455C-9EA6-DF929625EA0E}">
        <p15:presenceInfo xmlns:p15="http://schemas.microsoft.com/office/powerpoint/2012/main" userId="S::dragos.fundulea@rolandberger.com::5d1b315d-37a4-4274-9e47-5cd07539a7b2" providerId="AD"/>
      </p:ext>
    </p:extLst>
  </p:cmAuthor>
  <p:cmAuthor id="3" name="Kaznacheev, Peter" initials="KP" lastIdx="40" clrIdx="2">
    <p:extLst>
      <p:ext uri="{19B8F6BF-5375-455C-9EA6-DF929625EA0E}">
        <p15:presenceInfo xmlns:p15="http://schemas.microsoft.com/office/powerpoint/2012/main" userId="S::peter.kaznacheev@rolandberger.com::c7da08cc-05b8-4d9a-bbaf-d60b74b37893" providerId="AD"/>
      </p:ext>
    </p:extLst>
  </p:cmAuthor>
  <p:cmAuthor id="4" name="Haid, Stefan" initials="HS" lastIdx="21" clrIdx="3">
    <p:extLst>
      <p:ext uri="{19B8F6BF-5375-455C-9EA6-DF929625EA0E}">
        <p15:presenceInfo xmlns:p15="http://schemas.microsoft.com/office/powerpoint/2012/main" userId="S::stefan.haid@rolandberger.com::ef0a3022-81f2-4434-b4a4-1cc0c8e3af0e" providerId="AD"/>
      </p:ext>
    </p:extLst>
  </p:cmAuthor>
  <p:cmAuthor id="5" name="Mytsak, Ustym" initials="MU" lastIdx="5" clrIdx="4">
    <p:extLst>
      <p:ext uri="{19B8F6BF-5375-455C-9EA6-DF929625EA0E}">
        <p15:presenceInfo xmlns:p15="http://schemas.microsoft.com/office/powerpoint/2012/main" userId="S::ustym.mytsak@rolandberger.com::9609674c-19bf-4213-bb5c-983241f20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6C9C"/>
    <a:srgbClr val="D1D9E1"/>
    <a:srgbClr val="B8D3E1"/>
    <a:srgbClr val="A4D7E1"/>
    <a:srgbClr val="A8B5BD"/>
    <a:srgbClr val="ECECEC"/>
    <a:srgbClr val="96AECA"/>
    <a:srgbClr val="00AAC9"/>
    <a:srgbClr val="EAEFF4"/>
    <a:srgbClr val="DE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120"/>
      </p:guideLst>
    </p:cSldViewPr>
  </p:slideViewPr>
  <p:notesViewPr>
    <p:cSldViewPr snapToGrid="0">
      <p:cViewPr>
        <p:scale>
          <a:sx n="1" d="2"/>
          <a:sy n="1" d="2"/>
        </p:scale>
        <p:origin x="0" y="0"/>
      </p:cViewPr>
      <p:guideLst>
        <p:guide orient="horz" pos="3116"/>
        <p:guide pos="21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791F4990_E5128EEB.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7FE4EEFD_AACA522C.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7FE4EEFD_AACA522C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E4F40C_B1EFA2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7FE4EEFC_12D454A.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7FE4EEFC_12D454A2.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791F498B_E05DD163.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791F498B_E05DD163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957746478873246E-2"/>
          <c:y val="1.932367149758454E-2"/>
          <c:w val="0.86408450704225348"/>
          <c:h val="0.89780750650315866"/>
        </c:manualLayout>
      </c:layout>
      <c:scatterChart>
        <c:scatterStyle val="lineMarker"/>
        <c:varyColors val="0"/>
        <c:ser>
          <c:idx val="0"/>
          <c:order val="0"/>
          <c:spPr>
            <a:ln w="28575" cap="flat" algn="ctr">
              <a:solidFill>
                <a:srgbClr val="1EA20F"/>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2:$D$2</c:f>
              <c:numCache>
                <c:formatCode>General</c:formatCode>
                <c:ptCount val="4"/>
                <c:pt idx="1">
                  <c:v>0.16</c:v>
                </c:pt>
                <c:pt idx="2">
                  <c:v>0.22000000000000003</c:v>
                </c:pt>
                <c:pt idx="3">
                  <c:v>0.28000000000000003</c:v>
                </c:pt>
              </c:numCache>
            </c:numRef>
          </c:yVal>
          <c:smooth val="1"/>
          <c:extLst>
            <c:ext xmlns:c16="http://schemas.microsoft.com/office/drawing/2014/chart" uri="{C3380CC4-5D6E-409C-BE32-E72D297353CC}">
              <c16:uniqueId val="{00000000-F4AD-4B26-B958-7783CB19058A}"/>
            </c:ext>
          </c:extLst>
        </c:ser>
        <c:ser>
          <c:idx val="1"/>
          <c:order val="1"/>
          <c:spPr>
            <a:ln w="28575" cap="flat" algn="ctr">
              <a:solidFill>
                <a:schemeClr val="accent6"/>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3:$D$3</c:f>
              <c:numCache>
                <c:formatCode>General</c:formatCode>
                <c:ptCount val="4"/>
                <c:pt idx="1">
                  <c:v>0.16</c:v>
                </c:pt>
                <c:pt idx="2">
                  <c:v>0.2</c:v>
                </c:pt>
                <c:pt idx="3">
                  <c:v>0.24</c:v>
                </c:pt>
              </c:numCache>
            </c:numRef>
          </c:yVal>
          <c:smooth val="0"/>
          <c:extLst>
            <c:ext xmlns:c16="http://schemas.microsoft.com/office/drawing/2014/chart" uri="{C3380CC4-5D6E-409C-BE32-E72D297353CC}">
              <c16:uniqueId val="{00000001-F4AD-4B26-B958-7783CB19058A}"/>
            </c:ext>
          </c:extLst>
        </c:ser>
        <c:ser>
          <c:idx val="2"/>
          <c:order val="2"/>
          <c:spPr>
            <a:ln w="28575" cap="flat" algn="ctr">
              <a:solidFill>
                <a:schemeClr val="tx2"/>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4:$D$4</c:f>
              <c:numCache>
                <c:formatCode>General</c:formatCode>
                <c:ptCount val="4"/>
                <c:pt idx="1">
                  <c:v>0.16</c:v>
                </c:pt>
                <c:pt idx="2">
                  <c:v>0.18</c:v>
                </c:pt>
                <c:pt idx="3">
                  <c:v>0.2</c:v>
                </c:pt>
              </c:numCache>
            </c:numRef>
          </c:yVal>
          <c:smooth val="0"/>
          <c:extLst>
            <c:ext xmlns:c16="http://schemas.microsoft.com/office/drawing/2014/chart" uri="{C3380CC4-5D6E-409C-BE32-E72D297353CC}">
              <c16:uniqueId val="{00000002-F4AD-4B26-B958-7783CB19058A}"/>
            </c:ext>
          </c:extLst>
        </c:ser>
        <c:ser>
          <c:idx val="3"/>
          <c:order val="3"/>
          <c:spPr>
            <a:ln w="22225" cap="flat" algn="ctr">
              <a:solidFill>
                <a:schemeClr val="tx1"/>
              </a:solidFill>
              <a:prstDash val="solid"/>
            </a:ln>
          </c:spPr>
          <c:marker>
            <c:symbol val="none"/>
          </c:marker>
          <c:xVal>
            <c:numRef>
              <c:f>Sheet1!$A$1:$D$1</c:f>
              <c:numCache>
                <c:formatCode>General</c:formatCode>
                <c:ptCount val="4"/>
                <c:pt idx="0">
                  <c:v>2015</c:v>
                </c:pt>
                <c:pt idx="1">
                  <c:v>2020</c:v>
                </c:pt>
                <c:pt idx="2">
                  <c:v>2025</c:v>
                </c:pt>
                <c:pt idx="3">
                  <c:v>2030</c:v>
                </c:pt>
              </c:numCache>
            </c:numRef>
          </c:xVal>
          <c:yVal>
            <c:numRef>
              <c:f>Sheet1!$A$5:$D$5</c:f>
              <c:numCache>
                <c:formatCode>General</c:formatCode>
                <c:ptCount val="4"/>
                <c:pt idx="0">
                  <c:v>0.13488400839109757</c:v>
                </c:pt>
                <c:pt idx="1">
                  <c:v>0.16</c:v>
                </c:pt>
              </c:numCache>
            </c:numRef>
          </c:yVal>
          <c:smooth val="1"/>
          <c:extLst>
            <c:ext xmlns:c16="http://schemas.microsoft.com/office/drawing/2014/chart" uri="{C3380CC4-5D6E-409C-BE32-E72D297353CC}">
              <c16:uniqueId val="{00000003-F4AD-4B26-B958-7783CB19058A}"/>
            </c:ext>
          </c:extLst>
        </c:ser>
        <c:dLbls>
          <c:showLegendKey val="0"/>
          <c:showVal val="0"/>
          <c:showCatName val="0"/>
          <c:showSerName val="0"/>
          <c:showPercent val="0"/>
          <c:showBubbleSize val="0"/>
        </c:dLbls>
        <c:axId val="1902005007"/>
        <c:axId val="1"/>
      </c:scatterChart>
      <c:valAx>
        <c:axId val="1902005007"/>
        <c:scaling>
          <c:orientation val="minMax"/>
          <c:max val="2030"/>
          <c:min val="2015"/>
        </c:scaling>
        <c:delete val="0"/>
        <c:axPos val="b"/>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300" kern="1200">
                <a:solidFill>
                  <a:schemeClr val="tx1"/>
                </a:solidFill>
                <a:latin typeface="+mn-lt"/>
                <a:ea typeface="+mn-ea"/>
                <a:cs typeface="+mn-cs"/>
                <a:sym typeface="+mn-lt"/>
              </a:defRPr>
            </a:pPr>
            <a:endParaRPr lang="en-US"/>
          </a:p>
        </c:txPr>
        <c:crossAx val="1"/>
        <c:crosses val="min"/>
        <c:crossBetween val="midCat"/>
        <c:majorUnit val="5"/>
      </c:valAx>
      <c:valAx>
        <c:axId val="1"/>
        <c:scaling>
          <c:orientation val="minMax"/>
          <c:max val="0.28000000000000003"/>
          <c:min val="0.13"/>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902005007"/>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139090309822018E-2"/>
          <c:y val="4.3771043771043773E-2"/>
          <c:w val="0.96572181938035595"/>
          <c:h val="0.91245791245791241"/>
        </c:manualLayout>
      </c:layout>
      <c:areaChart>
        <c:grouping val="stacked"/>
        <c:varyColors val="0"/>
        <c:ser>
          <c:idx val="0"/>
          <c:order val="0"/>
          <c:spPr>
            <a:solidFill>
              <a:srgbClr val="1A84BD"/>
            </a:solidFill>
            <a:ln w="9525" cap="flat" algn="ctr">
              <a:solidFill>
                <a:schemeClr val="bg1"/>
              </a:solidFill>
              <a:prstDash val="solid"/>
            </a:ln>
          </c:spPr>
          <c:val>
            <c:numRef>
              <c:f>Sheet1!$A$1:$P$1</c:f>
              <c:numCache>
                <c:formatCode>General</c:formatCode>
                <c:ptCount val="16"/>
                <c:pt idx="0">
                  <c:v>10.8584</c:v>
                </c:pt>
                <c:pt idx="1">
                  <c:v>10.451499999999999</c:v>
                </c:pt>
                <c:pt idx="2">
                  <c:v>10.3605</c:v>
                </c:pt>
                <c:pt idx="3">
                  <c:v>11.823100000010001</c:v>
                </c:pt>
                <c:pt idx="4">
                  <c:v>11.290672977428956</c:v>
                </c:pt>
                <c:pt idx="5">
                  <c:v>10.546467321273912</c:v>
                </c:pt>
                <c:pt idx="6">
                  <c:v>10.857201816767331</c:v>
                </c:pt>
                <c:pt idx="7">
                  <c:v>11.280022431439374</c:v>
                </c:pt>
                <c:pt idx="8">
                  <c:v>11.654975221012823</c:v>
                </c:pt>
                <c:pt idx="9">
                  <c:v>12.000381424823047</c:v>
                </c:pt>
                <c:pt idx="10">
                  <c:v>12.284921200854155</c:v>
                </c:pt>
                <c:pt idx="11">
                  <c:v>12.568192812131377</c:v>
                </c:pt>
                <c:pt idx="12">
                  <c:v>12.852888953887506</c:v>
                </c:pt>
                <c:pt idx="13">
                  <c:v>13.135330382578825</c:v>
                </c:pt>
                <c:pt idx="14">
                  <c:v>13.42067553079074</c:v>
                </c:pt>
                <c:pt idx="15">
                  <c:v>13.697411897280155</c:v>
                </c:pt>
              </c:numCache>
            </c:numRef>
          </c:val>
          <c:extLst>
            <c:ext xmlns:c16="http://schemas.microsoft.com/office/drawing/2014/chart" uri="{C3380CC4-5D6E-409C-BE32-E72D297353CC}">
              <c16:uniqueId val="{00000000-10EA-4B8F-97C4-AE446AAD6180}"/>
            </c:ext>
          </c:extLst>
        </c:ser>
        <c:ser>
          <c:idx val="1"/>
          <c:order val="1"/>
          <c:spPr>
            <a:solidFill>
              <a:schemeClr val="accent2"/>
            </a:solidFill>
            <a:ln w="9525" cap="flat" algn="ctr">
              <a:solidFill>
                <a:schemeClr val="bg1"/>
              </a:solidFill>
              <a:prstDash val="solid"/>
            </a:ln>
          </c:spPr>
          <c:val>
            <c:numRef>
              <c:f>Sheet1!$A$2:$P$2</c:f>
              <c:numCache>
                <c:formatCode>General</c:formatCode>
                <c:ptCount val="16"/>
                <c:pt idx="0">
                  <c:v>33.718400000299994</c:v>
                </c:pt>
                <c:pt idx="1">
                  <c:v>34.363500000300007</c:v>
                </c:pt>
                <c:pt idx="2">
                  <c:v>35.057200000300007</c:v>
                </c:pt>
                <c:pt idx="3">
                  <c:v>35.672500000300005</c:v>
                </c:pt>
                <c:pt idx="4">
                  <c:v>34.807264384258723</c:v>
                </c:pt>
                <c:pt idx="5">
                  <c:v>32.562415585381572</c:v>
                </c:pt>
                <c:pt idx="6">
                  <c:v>30.73998643690522</c:v>
                </c:pt>
                <c:pt idx="7">
                  <c:v>30.129064665318896</c:v>
                </c:pt>
                <c:pt idx="8">
                  <c:v>29.399309943834322</c:v>
                </c:pt>
                <c:pt idx="9">
                  <c:v>28.614243832509452</c:v>
                </c:pt>
                <c:pt idx="10">
                  <c:v>27.901339909291877</c:v>
                </c:pt>
                <c:pt idx="11">
                  <c:v>27.256894431804547</c:v>
                </c:pt>
                <c:pt idx="12">
                  <c:v>26.629426463819151</c:v>
                </c:pt>
                <c:pt idx="13">
                  <c:v>25.885607053790356</c:v>
                </c:pt>
                <c:pt idx="14">
                  <c:v>24.998122389790865</c:v>
                </c:pt>
                <c:pt idx="15">
                  <c:v>24.05899550692579</c:v>
                </c:pt>
              </c:numCache>
            </c:numRef>
          </c:val>
          <c:extLst>
            <c:ext xmlns:c16="http://schemas.microsoft.com/office/drawing/2014/chart" uri="{C3380CC4-5D6E-409C-BE32-E72D297353CC}">
              <c16:uniqueId val="{00000001-10EA-4B8F-97C4-AE446AAD6180}"/>
            </c:ext>
          </c:extLst>
        </c:ser>
        <c:ser>
          <c:idx val="2"/>
          <c:order val="2"/>
          <c:spPr>
            <a:solidFill>
              <a:schemeClr val="tx2"/>
            </a:solidFill>
            <a:ln w="9525" cap="flat" algn="ctr">
              <a:solidFill>
                <a:schemeClr val="bg1"/>
              </a:solidFill>
              <a:prstDash val="solid"/>
            </a:ln>
          </c:spPr>
          <c:val>
            <c:numRef>
              <c:f>Sheet1!$A$3:$P$3</c:f>
              <c:numCache>
                <c:formatCode>General</c:formatCode>
                <c:ptCount val="16"/>
                <c:pt idx="0">
                  <c:v>48.057000000000002</c:v>
                </c:pt>
                <c:pt idx="1">
                  <c:v>50.401105906659026</c:v>
                </c:pt>
                <c:pt idx="2">
                  <c:v>52.242100000000001</c:v>
                </c:pt>
                <c:pt idx="3">
                  <c:v>53.945300000000003</c:v>
                </c:pt>
                <c:pt idx="4">
                  <c:v>55.072693901509787</c:v>
                </c:pt>
                <c:pt idx="5">
                  <c:v>52.523030656014157</c:v>
                </c:pt>
                <c:pt idx="6">
                  <c:v>52.833255126856763</c:v>
                </c:pt>
                <c:pt idx="7">
                  <c:v>54.245317595260346</c:v>
                </c:pt>
                <c:pt idx="8">
                  <c:v>55.751492379956161</c:v>
                </c:pt>
                <c:pt idx="9">
                  <c:v>57.124485292833519</c:v>
                </c:pt>
                <c:pt idx="10">
                  <c:v>58.362446037239096</c:v>
                </c:pt>
                <c:pt idx="11">
                  <c:v>59.749072390940114</c:v>
                </c:pt>
                <c:pt idx="12">
                  <c:v>61.267120932588185</c:v>
                </c:pt>
                <c:pt idx="13">
                  <c:v>62.792186473060198</c:v>
                </c:pt>
                <c:pt idx="14">
                  <c:v>64.308671600417597</c:v>
                </c:pt>
                <c:pt idx="15">
                  <c:v>66.22122143077452</c:v>
                </c:pt>
              </c:numCache>
            </c:numRef>
          </c:val>
          <c:extLst>
            <c:ext xmlns:c16="http://schemas.microsoft.com/office/drawing/2014/chart" uri="{C3380CC4-5D6E-409C-BE32-E72D297353CC}">
              <c16:uniqueId val="{00000002-10EA-4B8F-97C4-AE446AAD6180}"/>
            </c:ext>
          </c:extLst>
        </c:ser>
        <c:ser>
          <c:idx val="3"/>
          <c:order val="3"/>
          <c:spPr>
            <a:solidFill>
              <a:schemeClr val="tx1"/>
            </a:solidFill>
            <a:ln w="9525" cap="flat" algn="ctr">
              <a:solidFill>
                <a:schemeClr val="bg1"/>
              </a:solidFill>
              <a:prstDash val="solid"/>
            </a:ln>
          </c:spPr>
          <c:val>
            <c:numRef>
              <c:f>Sheet1!$A$4:$P$4</c:f>
              <c:numCache>
                <c:formatCode>General</c:formatCode>
                <c:ptCount val="16"/>
                <c:pt idx="0">
                  <c:v>15.985200000000006</c:v>
                </c:pt>
                <c:pt idx="1">
                  <c:v>17.507999999999996</c:v>
                </c:pt>
                <c:pt idx="2">
                  <c:v>19.866399999999999</c:v>
                </c:pt>
                <c:pt idx="3">
                  <c:v>21.434200000000004</c:v>
                </c:pt>
                <c:pt idx="4">
                  <c:v>21.502682447504256</c:v>
                </c:pt>
                <c:pt idx="5">
                  <c:v>20.348684395925062</c:v>
                </c:pt>
                <c:pt idx="6">
                  <c:v>20.147756062115832</c:v>
                </c:pt>
                <c:pt idx="7">
                  <c:v>20.361451032727061</c:v>
                </c:pt>
                <c:pt idx="8">
                  <c:v>20.466773227988924</c:v>
                </c:pt>
                <c:pt idx="9">
                  <c:v>20.541318680595239</c:v>
                </c:pt>
                <c:pt idx="10">
                  <c:v>20.526058784196792</c:v>
                </c:pt>
                <c:pt idx="11">
                  <c:v>20.527813907271977</c:v>
                </c:pt>
                <c:pt idx="12">
                  <c:v>20.541002747555325</c:v>
                </c:pt>
                <c:pt idx="13">
                  <c:v>20.521576863993715</c:v>
                </c:pt>
                <c:pt idx="14">
                  <c:v>20.466200352254447</c:v>
                </c:pt>
                <c:pt idx="15">
                  <c:v>20.38943645654345</c:v>
                </c:pt>
              </c:numCache>
            </c:numRef>
          </c:val>
          <c:extLst>
            <c:ext xmlns:c16="http://schemas.microsoft.com/office/drawing/2014/chart" uri="{C3380CC4-5D6E-409C-BE32-E72D297353CC}">
              <c16:uniqueId val="{00000003-10EA-4B8F-97C4-AE446AAD6180}"/>
            </c:ext>
          </c:extLst>
        </c:ser>
        <c:ser>
          <c:idx val="4"/>
          <c:order val="4"/>
          <c:spPr>
            <a:solidFill>
              <a:schemeClr val="accent6"/>
            </a:solidFill>
            <a:ln w="9525" cap="flat" algn="ctr">
              <a:solidFill>
                <a:schemeClr val="bg1"/>
              </a:solidFill>
              <a:prstDash val="solid"/>
            </a:ln>
          </c:spPr>
          <c:val>
            <c:numRef>
              <c:f>Sheet1!$A$5:$P$5</c:f>
              <c:numCache>
                <c:formatCode>General</c:formatCode>
                <c:ptCount val="16"/>
                <c:pt idx="0">
                  <c:v>55.70290000000999</c:v>
                </c:pt>
                <c:pt idx="1">
                  <c:v>59.413500000009989</c:v>
                </c:pt>
                <c:pt idx="2">
                  <c:v>60.588500000009986</c:v>
                </c:pt>
                <c:pt idx="3">
                  <c:v>59.08829999999999</c:v>
                </c:pt>
                <c:pt idx="4">
                  <c:v>61.346553714777556</c:v>
                </c:pt>
                <c:pt idx="5">
                  <c:v>59.624794555655257</c:v>
                </c:pt>
                <c:pt idx="6">
                  <c:v>61.885598057173922</c:v>
                </c:pt>
                <c:pt idx="7">
                  <c:v>65.197240374661703</c:v>
                </c:pt>
                <c:pt idx="8">
                  <c:v>68.336269731948548</c:v>
                </c:pt>
                <c:pt idx="9">
                  <c:v>71.310416483879976</c:v>
                </c:pt>
                <c:pt idx="10">
                  <c:v>74.274197300380067</c:v>
                </c:pt>
                <c:pt idx="11">
                  <c:v>77.431599123603633</c:v>
                </c:pt>
                <c:pt idx="12">
                  <c:v>80.796409861568264</c:v>
                </c:pt>
                <c:pt idx="13">
                  <c:v>84.25433234486681</c:v>
                </c:pt>
                <c:pt idx="14">
                  <c:v>87.754438252730921</c:v>
                </c:pt>
                <c:pt idx="15">
                  <c:v>91.495124958618078</c:v>
                </c:pt>
              </c:numCache>
            </c:numRef>
          </c:val>
          <c:extLst>
            <c:ext xmlns:c16="http://schemas.microsoft.com/office/drawing/2014/chart" uri="{C3380CC4-5D6E-409C-BE32-E72D297353CC}">
              <c16:uniqueId val="{00000004-10EA-4B8F-97C4-AE446AAD6180}"/>
            </c:ext>
          </c:extLst>
        </c:ser>
        <c:ser>
          <c:idx val="5"/>
          <c:order val="5"/>
          <c:spPr>
            <a:solidFill>
              <a:schemeClr val="accent4"/>
            </a:solidFill>
            <a:ln w="9525" cap="flat" algn="ctr">
              <a:solidFill>
                <a:schemeClr val="bg1"/>
              </a:solidFill>
              <a:prstDash val="solid"/>
            </a:ln>
          </c:spPr>
          <c:val>
            <c:numRef>
              <c:f>Sheet1!$A$6:$P$6</c:f>
              <c:numCache>
                <c:formatCode>General</c:formatCode>
                <c:ptCount val="16"/>
                <c:pt idx="0">
                  <c:v>23.261092450510006</c:v>
                </c:pt>
                <c:pt idx="1">
                  <c:v>23.724713400510012</c:v>
                </c:pt>
                <c:pt idx="2">
                  <c:v>25.778250716010007</c:v>
                </c:pt>
                <c:pt idx="3">
                  <c:v>28.398558114509996</c:v>
                </c:pt>
                <c:pt idx="4">
                  <c:v>27.96200573066676</c:v>
                </c:pt>
                <c:pt idx="5">
                  <c:v>27.901231316622642</c:v>
                </c:pt>
                <c:pt idx="6">
                  <c:v>29.389862113847045</c:v>
                </c:pt>
                <c:pt idx="7">
                  <c:v>31.615066560919843</c:v>
                </c:pt>
                <c:pt idx="8">
                  <c:v>33.717516594399854</c:v>
                </c:pt>
                <c:pt idx="9">
                  <c:v>35.807735836921239</c:v>
                </c:pt>
                <c:pt idx="10">
                  <c:v>37.912574528942827</c:v>
                </c:pt>
                <c:pt idx="11">
                  <c:v>40.143212370056801</c:v>
                </c:pt>
                <c:pt idx="12">
                  <c:v>42.516989672099953</c:v>
                </c:pt>
                <c:pt idx="13">
                  <c:v>44.926764635065268</c:v>
                </c:pt>
                <c:pt idx="14">
                  <c:v>47.355123029719948</c:v>
                </c:pt>
                <c:pt idx="15">
                  <c:v>49.860671750918726</c:v>
                </c:pt>
              </c:numCache>
            </c:numRef>
          </c:val>
          <c:extLst>
            <c:ext xmlns:c16="http://schemas.microsoft.com/office/drawing/2014/chart" uri="{C3380CC4-5D6E-409C-BE32-E72D297353CC}">
              <c16:uniqueId val="{00000005-10EA-4B8F-97C4-AE446AAD6180}"/>
            </c:ext>
          </c:extLst>
        </c:ser>
        <c:dLbls>
          <c:showLegendKey val="0"/>
          <c:showVal val="0"/>
          <c:showCatName val="0"/>
          <c:showSerName val="0"/>
          <c:showPercent val="0"/>
          <c:showBubbleSize val="0"/>
        </c:dLbls>
        <c:axId val="1909529871"/>
        <c:axId val="1"/>
      </c:areaChart>
      <c:catAx>
        <c:axId val="190952987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5.72286200106072"/>
          <c:min val="0"/>
        </c:scaling>
        <c:delete val="1"/>
        <c:axPos val="l"/>
        <c:numFmt formatCode="General" sourceLinked="1"/>
        <c:majorTickMark val="out"/>
        <c:minorTickMark val="none"/>
        <c:tickLblPos val="nextTo"/>
        <c:crossAx val="1909529871"/>
        <c:crosses val="min"/>
        <c:crossBetween val="midCat"/>
      </c:valAx>
    </c:plotArea>
    <c:plotVisOnly val="0"/>
    <c:dispBlanksAs val="zero"/>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139090309822018E-2"/>
          <c:y val="4.3771043771043773E-2"/>
          <c:w val="0.96572181938035595"/>
          <c:h val="0.91245791245791241"/>
        </c:manualLayout>
      </c:layout>
      <c:areaChart>
        <c:grouping val="stacked"/>
        <c:varyColors val="0"/>
        <c:ser>
          <c:idx val="0"/>
          <c:order val="0"/>
          <c:spPr>
            <a:solidFill>
              <a:srgbClr val="1A84BD"/>
            </a:solidFill>
            <a:ln w="9525" cap="flat" algn="ctr">
              <a:solidFill>
                <a:schemeClr val="bg1"/>
              </a:solidFill>
              <a:prstDash val="solid"/>
            </a:ln>
          </c:spPr>
          <c:val>
            <c:numRef>
              <c:f>Sheet1!$A$1:$P$1</c:f>
              <c:numCache>
                <c:formatCode>General</c:formatCode>
                <c:ptCount val="16"/>
                <c:pt idx="0">
                  <c:v>93.858400000000003</c:v>
                </c:pt>
                <c:pt idx="1">
                  <c:v>100.4515</c:v>
                </c:pt>
                <c:pt idx="2">
                  <c:v>106.3605</c:v>
                </c:pt>
                <c:pt idx="3">
                  <c:v>115.15510000000999</c:v>
                </c:pt>
                <c:pt idx="4">
                  <c:v>116.04893685914753</c:v>
                </c:pt>
                <c:pt idx="5">
                  <c:v>116</c:v>
                </c:pt>
                <c:pt idx="6">
                  <c:v>118.46799346192309</c:v>
                </c:pt>
                <c:pt idx="7">
                  <c:v>120.31707795831373</c:v>
                </c:pt>
                <c:pt idx="8">
                  <c:v>122.11829462960576</c:v>
                </c:pt>
                <c:pt idx="9">
                  <c:v>123.88996471513458</c:v>
                </c:pt>
                <c:pt idx="10">
                  <c:v>125.60076837288427</c:v>
                </c:pt>
                <c:pt idx="11">
                  <c:v>126.85934380248463</c:v>
                </c:pt>
                <c:pt idx="12">
                  <c:v>128.11934376256391</c:v>
                </c:pt>
                <c:pt idx="13">
                  <c:v>129.37708900957836</c:v>
                </c:pt>
                <c:pt idx="14">
                  <c:v>130.63773797611341</c:v>
                </c:pt>
                <c:pt idx="15">
                  <c:v>131.88977816092597</c:v>
                </c:pt>
              </c:numCache>
            </c:numRef>
          </c:val>
          <c:extLst>
            <c:ext xmlns:c16="http://schemas.microsoft.com/office/drawing/2014/chart" uri="{C3380CC4-5D6E-409C-BE32-E72D297353CC}">
              <c16:uniqueId val="{00000000-86F2-4EDD-8FC6-E16F2E28E9ED}"/>
            </c:ext>
          </c:extLst>
        </c:ser>
        <c:ser>
          <c:idx val="1"/>
          <c:order val="1"/>
          <c:spPr>
            <a:solidFill>
              <a:schemeClr val="accent2"/>
            </a:solidFill>
            <a:ln w="9525" cap="flat" algn="ctr">
              <a:solidFill>
                <a:schemeClr val="bg1"/>
              </a:solidFill>
              <a:prstDash val="solid"/>
            </a:ln>
          </c:spPr>
          <c:val>
            <c:numRef>
              <c:f>Sheet1!$A$2:$P$2</c:f>
              <c:numCache>
                <c:formatCode>General</c:formatCode>
                <c:ptCount val="16"/>
                <c:pt idx="0">
                  <c:v>123.71840000030001</c:v>
                </c:pt>
                <c:pt idx="1">
                  <c:v>119.36350000030002</c:v>
                </c:pt>
                <c:pt idx="2">
                  <c:v>117.05720000030001</c:v>
                </c:pt>
                <c:pt idx="3">
                  <c:v>115.2635000003</c:v>
                </c:pt>
                <c:pt idx="4">
                  <c:v>116.16667518369941</c:v>
                </c:pt>
                <c:pt idx="5">
                  <c:v>115.69023718426297</c:v>
                </c:pt>
                <c:pt idx="6">
                  <c:v>115.63621883522733</c:v>
                </c:pt>
                <c:pt idx="7">
                  <c:v>116.79370786308168</c:v>
                </c:pt>
                <c:pt idx="8">
                  <c:v>117.8323639410378</c:v>
                </c:pt>
                <c:pt idx="9">
                  <c:v>118.81570862915366</c:v>
                </c:pt>
                <c:pt idx="10">
                  <c:v>119.87121550537675</c:v>
                </c:pt>
                <c:pt idx="11">
                  <c:v>121.13794416587518</c:v>
                </c:pt>
                <c:pt idx="12">
                  <c:v>122.42165033587557</c:v>
                </c:pt>
                <c:pt idx="13">
                  <c:v>123.58900506383253</c:v>
                </c:pt>
                <c:pt idx="14">
                  <c:v>124.61269453781878</c:v>
                </c:pt>
                <c:pt idx="15">
                  <c:v>125.58474179293944</c:v>
                </c:pt>
              </c:numCache>
            </c:numRef>
          </c:val>
          <c:extLst>
            <c:ext xmlns:c16="http://schemas.microsoft.com/office/drawing/2014/chart" uri="{C3380CC4-5D6E-409C-BE32-E72D297353CC}">
              <c16:uniqueId val="{00000001-86F2-4EDD-8FC6-E16F2E28E9ED}"/>
            </c:ext>
          </c:extLst>
        </c:ser>
        <c:ser>
          <c:idx val="2"/>
          <c:order val="2"/>
          <c:spPr>
            <a:solidFill>
              <a:schemeClr val="tx2"/>
            </a:solidFill>
            <a:ln w="9525" cap="flat" algn="ctr">
              <a:solidFill>
                <a:schemeClr val="bg1"/>
              </a:solidFill>
              <a:prstDash val="solid"/>
            </a:ln>
          </c:spPr>
          <c:val>
            <c:numRef>
              <c:f>Sheet1!$A$3:$P$3</c:f>
              <c:numCache>
                <c:formatCode>General</c:formatCode>
                <c:ptCount val="16"/>
                <c:pt idx="0">
                  <c:v>528.05700000000002</c:v>
                </c:pt>
                <c:pt idx="1">
                  <c:v>545.40110590665904</c:v>
                </c:pt>
                <c:pt idx="2">
                  <c:v>566.24210000000005</c:v>
                </c:pt>
                <c:pt idx="3">
                  <c:v>589.34529999999995</c:v>
                </c:pt>
                <c:pt idx="4">
                  <c:v>597.41376748834864</c:v>
                </c:pt>
                <c:pt idx="5">
                  <c:v>601.80517782969196</c:v>
                </c:pt>
                <c:pt idx="6">
                  <c:v>609.05647588737349</c:v>
                </c:pt>
                <c:pt idx="7">
                  <c:v>617.40961194261592</c:v>
                </c:pt>
                <c:pt idx="8">
                  <c:v>625.85686031415071</c:v>
                </c:pt>
                <c:pt idx="9">
                  <c:v>634.17092681386691</c:v>
                </c:pt>
                <c:pt idx="10">
                  <c:v>642.34996114511159</c:v>
                </c:pt>
                <c:pt idx="11">
                  <c:v>648.00870218515956</c:v>
                </c:pt>
                <c:pt idx="12">
                  <c:v>653.79886541315477</c:v>
                </c:pt>
                <c:pt idx="13">
                  <c:v>659.59604563997368</c:v>
                </c:pt>
                <c:pt idx="14">
                  <c:v>665.38464545367822</c:v>
                </c:pt>
                <c:pt idx="15">
                  <c:v>671.56930997038228</c:v>
                </c:pt>
              </c:numCache>
            </c:numRef>
          </c:val>
          <c:extLst>
            <c:ext xmlns:c16="http://schemas.microsoft.com/office/drawing/2014/chart" uri="{C3380CC4-5D6E-409C-BE32-E72D297353CC}">
              <c16:uniqueId val="{00000002-86F2-4EDD-8FC6-E16F2E28E9ED}"/>
            </c:ext>
          </c:extLst>
        </c:ser>
        <c:ser>
          <c:idx val="3"/>
          <c:order val="3"/>
          <c:spPr>
            <a:solidFill>
              <a:schemeClr val="tx1"/>
            </a:solidFill>
            <a:ln w="9525" cap="flat" algn="ctr">
              <a:solidFill>
                <a:schemeClr val="bg1"/>
              </a:solidFill>
              <a:prstDash val="solid"/>
            </a:ln>
          </c:spPr>
          <c:val>
            <c:numRef>
              <c:f>Sheet1!$A$4:$P$4</c:f>
              <c:numCache>
                <c:formatCode>General</c:formatCode>
                <c:ptCount val="16"/>
                <c:pt idx="0">
                  <c:v>768.98519999999985</c:v>
                </c:pt>
                <c:pt idx="1">
                  <c:v>730.50800000000004</c:v>
                </c:pt>
                <c:pt idx="2">
                  <c:v>682.86639999999989</c:v>
                </c:pt>
                <c:pt idx="3">
                  <c:v>656.41019999999992</c:v>
                </c:pt>
                <c:pt idx="4">
                  <c:v>646.82708276747553</c:v>
                </c:pt>
                <c:pt idx="5">
                  <c:v>636.0214850358675</c:v>
                </c:pt>
                <c:pt idx="6">
                  <c:v>626.16895702202942</c:v>
                </c:pt>
                <c:pt idx="7">
                  <c:v>616.73105231261195</c:v>
                </c:pt>
                <c:pt idx="8">
                  <c:v>607.1847748278451</c:v>
                </c:pt>
                <c:pt idx="9">
                  <c:v>597.60772060042257</c:v>
                </c:pt>
                <c:pt idx="10">
                  <c:v>587.94086102399547</c:v>
                </c:pt>
                <c:pt idx="11">
                  <c:v>577.95074907253797</c:v>
                </c:pt>
                <c:pt idx="12">
                  <c:v>567.97207083828891</c:v>
                </c:pt>
                <c:pt idx="13">
                  <c:v>557.96077788019466</c:v>
                </c:pt>
                <c:pt idx="14">
                  <c:v>547.91353429392302</c:v>
                </c:pt>
                <c:pt idx="15">
                  <c:v>537.84490332367943</c:v>
                </c:pt>
              </c:numCache>
            </c:numRef>
          </c:val>
          <c:extLst>
            <c:ext xmlns:c16="http://schemas.microsoft.com/office/drawing/2014/chart" uri="{C3380CC4-5D6E-409C-BE32-E72D297353CC}">
              <c16:uniqueId val="{00000003-86F2-4EDD-8FC6-E16F2E28E9ED}"/>
            </c:ext>
          </c:extLst>
        </c:ser>
        <c:ser>
          <c:idx val="4"/>
          <c:order val="4"/>
          <c:spPr>
            <a:solidFill>
              <a:schemeClr val="accent6"/>
            </a:solidFill>
            <a:ln w="9525" cap="flat" algn="ctr">
              <a:solidFill>
                <a:schemeClr val="bg1"/>
              </a:solidFill>
              <a:prstDash val="solid"/>
            </a:ln>
          </c:spPr>
          <c:val>
            <c:numRef>
              <c:f>Sheet1!$A$5:$P$5</c:f>
              <c:numCache>
                <c:formatCode>General</c:formatCode>
                <c:ptCount val="16"/>
                <c:pt idx="0">
                  <c:v>160.70290000001</c:v>
                </c:pt>
                <c:pt idx="1">
                  <c:v>173.41350000000989</c:v>
                </c:pt>
                <c:pt idx="2">
                  <c:v>192.58850000001007</c:v>
                </c:pt>
                <c:pt idx="3">
                  <c:v>212.3472999999999</c:v>
                </c:pt>
                <c:pt idx="4">
                  <c:v>224.30428917198947</c:v>
                </c:pt>
                <c:pt idx="5">
                  <c:v>232.28126547007901</c:v>
                </c:pt>
                <c:pt idx="6">
                  <c:v>244.2408044288095</c:v>
                </c:pt>
                <c:pt idx="7">
                  <c:v>257.25118220350919</c:v>
                </c:pt>
                <c:pt idx="8">
                  <c:v>270.08894701800796</c:v>
                </c:pt>
                <c:pt idx="9">
                  <c:v>282.76182922715134</c:v>
                </c:pt>
                <c:pt idx="10">
                  <c:v>295.42434550086318</c:v>
                </c:pt>
                <c:pt idx="11">
                  <c:v>305.56772427523629</c:v>
                </c:pt>
                <c:pt idx="12">
                  <c:v>315.9185119643505</c:v>
                </c:pt>
                <c:pt idx="13">
                  <c:v>326.36241139879849</c:v>
                </c:pt>
                <c:pt idx="14">
                  <c:v>336.84849425781204</c:v>
                </c:pt>
                <c:pt idx="15">
                  <c:v>347.57515791484866</c:v>
                </c:pt>
              </c:numCache>
            </c:numRef>
          </c:val>
          <c:extLst>
            <c:ext xmlns:c16="http://schemas.microsoft.com/office/drawing/2014/chart" uri="{C3380CC4-5D6E-409C-BE32-E72D297353CC}">
              <c16:uniqueId val="{00000004-86F2-4EDD-8FC6-E16F2E28E9ED}"/>
            </c:ext>
          </c:extLst>
        </c:ser>
        <c:ser>
          <c:idx val="5"/>
          <c:order val="5"/>
          <c:spPr>
            <a:solidFill>
              <a:schemeClr val="accent4"/>
            </a:solidFill>
            <a:ln w="9525" cap="flat" algn="ctr">
              <a:solidFill>
                <a:schemeClr val="bg1"/>
              </a:solidFill>
              <a:prstDash val="solid"/>
            </a:ln>
          </c:spPr>
          <c:val>
            <c:numRef>
              <c:f>Sheet1!$A$6:$P$6</c:f>
              <c:numCache>
                <c:formatCode>General</c:formatCode>
                <c:ptCount val="16"/>
                <c:pt idx="0">
                  <c:v>472.26109245050998</c:v>
                </c:pt>
                <c:pt idx="1">
                  <c:v>500.72471340051015</c:v>
                </c:pt>
                <c:pt idx="2">
                  <c:v>534.77825071601023</c:v>
                </c:pt>
                <c:pt idx="3">
                  <c:v>579.50455811451002</c:v>
                </c:pt>
                <c:pt idx="4">
                  <c:v>597.98897168548547</c:v>
                </c:pt>
                <c:pt idx="5">
                  <c:v>616.84916322625986</c:v>
                </c:pt>
                <c:pt idx="6">
                  <c:v>637.25875997830281</c:v>
                </c:pt>
                <c:pt idx="7">
                  <c:v>658.40493038019463</c:v>
                </c:pt>
                <c:pt idx="8">
                  <c:v>679.42834636849307</c:v>
                </c:pt>
                <c:pt idx="9">
                  <c:v>700.43953156583302</c:v>
                </c:pt>
                <c:pt idx="10">
                  <c:v>721.46533621267326</c:v>
                </c:pt>
                <c:pt idx="11">
                  <c:v>740.31704153451437</c:v>
                </c:pt>
                <c:pt idx="12">
                  <c:v>759.31188631728492</c:v>
                </c:pt>
                <c:pt idx="13">
                  <c:v>778.34272876097748</c:v>
                </c:pt>
                <c:pt idx="14">
                  <c:v>797.39215463635901</c:v>
                </c:pt>
                <c:pt idx="15">
                  <c:v>816.51877083828504</c:v>
                </c:pt>
              </c:numCache>
            </c:numRef>
          </c:val>
          <c:extLst>
            <c:ext xmlns:c16="http://schemas.microsoft.com/office/drawing/2014/chart" uri="{C3380CC4-5D6E-409C-BE32-E72D297353CC}">
              <c16:uniqueId val="{00000005-86F2-4EDD-8FC6-E16F2E28E9ED}"/>
            </c:ext>
          </c:extLst>
        </c:ser>
        <c:dLbls>
          <c:showLegendKey val="0"/>
          <c:showVal val="0"/>
          <c:showCatName val="0"/>
          <c:showSerName val="0"/>
          <c:showPercent val="0"/>
          <c:showBubbleSize val="0"/>
        </c:dLbls>
        <c:axId val="1263918335"/>
        <c:axId val="1"/>
      </c:areaChart>
      <c:catAx>
        <c:axId val="1263918335"/>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30.9826620010608"/>
          <c:min val="0"/>
        </c:scaling>
        <c:delete val="1"/>
        <c:axPos val="l"/>
        <c:numFmt formatCode="General" sourceLinked="1"/>
        <c:majorTickMark val="out"/>
        <c:minorTickMark val="none"/>
        <c:tickLblPos val="nextTo"/>
        <c:crossAx val="1263918335"/>
        <c:crosses val="min"/>
        <c:crossBetween val="midCat"/>
      </c:valAx>
    </c:plotArea>
    <c:plotVisOnly val="0"/>
    <c:dispBlanksAs val="zero"/>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77389984825495E-2"/>
          <c:y val="3.3292231812577067E-2"/>
          <c:w val="0.92905918057663128"/>
          <c:h val="0.93341553637484587"/>
        </c:manualLayout>
      </c:layout>
      <c:scatterChart>
        <c:scatterStyle val="lineMarker"/>
        <c:varyColors val="0"/>
        <c:ser>
          <c:idx val="0"/>
          <c:order val="0"/>
          <c:spPr>
            <a:ln w="19050" cap="flat" algn="ctr">
              <a:solidFill>
                <a:schemeClr val="accent3"/>
              </a:solidFill>
              <a:prstDash val="solid"/>
            </a:ln>
          </c:spPr>
          <c:marker>
            <c:symbol val="none"/>
          </c:marker>
          <c:xVal>
            <c:numRef>
              <c:f>Sheet1!$A$1:$NK$1</c:f>
              <c:numCache>
                <c:formatCode>General</c:formatCode>
                <c:ptCount val="375"/>
                <c:pt idx="0">
                  <c:v>16437</c:v>
                </c:pt>
                <c:pt idx="1">
                  <c:v>16444</c:v>
                </c:pt>
                <c:pt idx="2">
                  <c:v>16451</c:v>
                </c:pt>
                <c:pt idx="3">
                  <c:v>16458</c:v>
                </c:pt>
                <c:pt idx="4">
                  <c:v>16465</c:v>
                </c:pt>
                <c:pt idx="5">
                  <c:v>16472</c:v>
                </c:pt>
                <c:pt idx="6">
                  <c:v>16479</c:v>
                </c:pt>
                <c:pt idx="7">
                  <c:v>16486</c:v>
                </c:pt>
                <c:pt idx="8">
                  <c:v>16493</c:v>
                </c:pt>
                <c:pt idx="9">
                  <c:v>16500</c:v>
                </c:pt>
                <c:pt idx="10">
                  <c:v>16507</c:v>
                </c:pt>
                <c:pt idx="11">
                  <c:v>16514</c:v>
                </c:pt>
                <c:pt idx="12">
                  <c:v>16521</c:v>
                </c:pt>
                <c:pt idx="13">
                  <c:v>16528</c:v>
                </c:pt>
                <c:pt idx="14">
                  <c:v>16535</c:v>
                </c:pt>
                <c:pt idx="15">
                  <c:v>16542</c:v>
                </c:pt>
                <c:pt idx="16">
                  <c:v>16549</c:v>
                </c:pt>
                <c:pt idx="17">
                  <c:v>16556</c:v>
                </c:pt>
                <c:pt idx="18">
                  <c:v>16563</c:v>
                </c:pt>
                <c:pt idx="19">
                  <c:v>16570</c:v>
                </c:pt>
                <c:pt idx="20">
                  <c:v>16577</c:v>
                </c:pt>
                <c:pt idx="21">
                  <c:v>16584</c:v>
                </c:pt>
                <c:pt idx="22">
                  <c:v>16591</c:v>
                </c:pt>
                <c:pt idx="23">
                  <c:v>16598</c:v>
                </c:pt>
                <c:pt idx="24">
                  <c:v>16605</c:v>
                </c:pt>
                <c:pt idx="25">
                  <c:v>16612</c:v>
                </c:pt>
                <c:pt idx="26">
                  <c:v>16619</c:v>
                </c:pt>
                <c:pt idx="27">
                  <c:v>16626</c:v>
                </c:pt>
                <c:pt idx="28">
                  <c:v>16633</c:v>
                </c:pt>
                <c:pt idx="29">
                  <c:v>16640</c:v>
                </c:pt>
                <c:pt idx="30">
                  <c:v>16647</c:v>
                </c:pt>
                <c:pt idx="31">
                  <c:v>16654</c:v>
                </c:pt>
                <c:pt idx="32">
                  <c:v>16661</c:v>
                </c:pt>
                <c:pt idx="33">
                  <c:v>16668</c:v>
                </c:pt>
                <c:pt idx="34">
                  <c:v>16675</c:v>
                </c:pt>
                <c:pt idx="35">
                  <c:v>16682</c:v>
                </c:pt>
                <c:pt idx="36">
                  <c:v>16689</c:v>
                </c:pt>
                <c:pt idx="37">
                  <c:v>16696</c:v>
                </c:pt>
                <c:pt idx="38">
                  <c:v>16703</c:v>
                </c:pt>
                <c:pt idx="39">
                  <c:v>16710</c:v>
                </c:pt>
                <c:pt idx="40">
                  <c:v>16717</c:v>
                </c:pt>
                <c:pt idx="41">
                  <c:v>16724</c:v>
                </c:pt>
                <c:pt idx="42">
                  <c:v>16731</c:v>
                </c:pt>
                <c:pt idx="43">
                  <c:v>16738</c:v>
                </c:pt>
                <c:pt idx="44">
                  <c:v>16745</c:v>
                </c:pt>
                <c:pt idx="45">
                  <c:v>16752</c:v>
                </c:pt>
                <c:pt idx="46">
                  <c:v>16759</c:v>
                </c:pt>
                <c:pt idx="47">
                  <c:v>16766</c:v>
                </c:pt>
                <c:pt idx="48">
                  <c:v>16773</c:v>
                </c:pt>
                <c:pt idx="49">
                  <c:v>16780</c:v>
                </c:pt>
                <c:pt idx="50">
                  <c:v>16787</c:v>
                </c:pt>
                <c:pt idx="51">
                  <c:v>16794</c:v>
                </c:pt>
                <c:pt idx="52">
                  <c:v>16801</c:v>
                </c:pt>
                <c:pt idx="53">
                  <c:v>16808</c:v>
                </c:pt>
                <c:pt idx="54">
                  <c:v>16815</c:v>
                </c:pt>
                <c:pt idx="55">
                  <c:v>16822</c:v>
                </c:pt>
                <c:pt idx="56">
                  <c:v>16829</c:v>
                </c:pt>
                <c:pt idx="57">
                  <c:v>16836</c:v>
                </c:pt>
                <c:pt idx="58">
                  <c:v>16843</c:v>
                </c:pt>
                <c:pt idx="59">
                  <c:v>16850</c:v>
                </c:pt>
                <c:pt idx="60">
                  <c:v>16857</c:v>
                </c:pt>
                <c:pt idx="61">
                  <c:v>16864</c:v>
                </c:pt>
                <c:pt idx="62">
                  <c:v>16871</c:v>
                </c:pt>
                <c:pt idx="63">
                  <c:v>16878</c:v>
                </c:pt>
                <c:pt idx="64">
                  <c:v>16885</c:v>
                </c:pt>
                <c:pt idx="65">
                  <c:v>16892</c:v>
                </c:pt>
                <c:pt idx="66">
                  <c:v>16899</c:v>
                </c:pt>
                <c:pt idx="67">
                  <c:v>16906</c:v>
                </c:pt>
                <c:pt idx="68">
                  <c:v>16913</c:v>
                </c:pt>
                <c:pt idx="69">
                  <c:v>16920</c:v>
                </c:pt>
                <c:pt idx="70">
                  <c:v>16927</c:v>
                </c:pt>
                <c:pt idx="71">
                  <c:v>16934</c:v>
                </c:pt>
                <c:pt idx="72">
                  <c:v>16941</c:v>
                </c:pt>
                <c:pt idx="73">
                  <c:v>16948</c:v>
                </c:pt>
                <c:pt idx="74">
                  <c:v>16955</c:v>
                </c:pt>
                <c:pt idx="75">
                  <c:v>16962</c:v>
                </c:pt>
                <c:pt idx="76">
                  <c:v>16969</c:v>
                </c:pt>
                <c:pt idx="77">
                  <c:v>16976</c:v>
                </c:pt>
                <c:pt idx="78">
                  <c:v>16983</c:v>
                </c:pt>
                <c:pt idx="79">
                  <c:v>16990</c:v>
                </c:pt>
                <c:pt idx="80">
                  <c:v>16997</c:v>
                </c:pt>
                <c:pt idx="81">
                  <c:v>17004</c:v>
                </c:pt>
                <c:pt idx="82">
                  <c:v>17011</c:v>
                </c:pt>
                <c:pt idx="83">
                  <c:v>17018</c:v>
                </c:pt>
                <c:pt idx="84">
                  <c:v>17025</c:v>
                </c:pt>
                <c:pt idx="85">
                  <c:v>17032</c:v>
                </c:pt>
                <c:pt idx="86">
                  <c:v>17039</c:v>
                </c:pt>
                <c:pt idx="87">
                  <c:v>17046</c:v>
                </c:pt>
                <c:pt idx="88">
                  <c:v>17053</c:v>
                </c:pt>
                <c:pt idx="89">
                  <c:v>17060</c:v>
                </c:pt>
                <c:pt idx="90">
                  <c:v>17067</c:v>
                </c:pt>
                <c:pt idx="91">
                  <c:v>17074</c:v>
                </c:pt>
                <c:pt idx="92">
                  <c:v>17081</c:v>
                </c:pt>
                <c:pt idx="93">
                  <c:v>17088</c:v>
                </c:pt>
                <c:pt idx="94">
                  <c:v>17095</c:v>
                </c:pt>
                <c:pt idx="95">
                  <c:v>17102</c:v>
                </c:pt>
                <c:pt idx="96">
                  <c:v>17109</c:v>
                </c:pt>
                <c:pt idx="97">
                  <c:v>17116</c:v>
                </c:pt>
                <c:pt idx="98">
                  <c:v>17123</c:v>
                </c:pt>
                <c:pt idx="99">
                  <c:v>17130</c:v>
                </c:pt>
                <c:pt idx="100">
                  <c:v>17137</c:v>
                </c:pt>
                <c:pt idx="101">
                  <c:v>17144</c:v>
                </c:pt>
                <c:pt idx="102">
                  <c:v>17151</c:v>
                </c:pt>
                <c:pt idx="103">
                  <c:v>17158</c:v>
                </c:pt>
                <c:pt idx="104">
                  <c:v>17165</c:v>
                </c:pt>
                <c:pt idx="105">
                  <c:v>17172</c:v>
                </c:pt>
                <c:pt idx="106">
                  <c:v>17179</c:v>
                </c:pt>
                <c:pt idx="107">
                  <c:v>17186</c:v>
                </c:pt>
                <c:pt idx="108">
                  <c:v>17193</c:v>
                </c:pt>
                <c:pt idx="109">
                  <c:v>17200</c:v>
                </c:pt>
                <c:pt idx="110">
                  <c:v>17207</c:v>
                </c:pt>
                <c:pt idx="111">
                  <c:v>17214</c:v>
                </c:pt>
                <c:pt idx="112">
                  <c:v>17221</c:v>
                </c:pt>
                <c:pt idx="113">
                  <c:v>17228</c:v>
                </c:pt>
                <c:pt idx="114">
                  <c:v>17235</c:v>
                </c:pt>
                <c:pt idx="115">
                  <c:v>17242</c:v>
                </c:pt>
                <c:pt idx="116">
                  <c:v>17249</c:v>
                </c:pt>
                <c:pt idx="117">
                  <c:v>17256</c:v>
                </c:pt>
                <c:pt idx="118">
                  <c:v>17263</c:v>
                </c:pt>
                <c:pt idx="119">
                  <c:v>17270</c:v>
                </c:pt>
                <c:pt idx="120">
                  <c:v>17277</c:v>
                </c:pt>
                <c:pt idx="121">
                  <c:v>17284</c:v>
                </c:pt>
                <c:pt idx="122">
                  <c:v>17291</c:v>
                </c:pt>
                <c:pt idx="123">
                  <c:v>17298</c:v>
                </c:pt>
                <c:pt idx="124">
                  <c:v>17305</c:v>
                </c:pt>
                <c:pt idx="125">
                  <c:v>17312</c:v>
                </c:pt>
                <c:pt idx="126">
                  <c:v>17319</c:v>
                </c:pt>
                <c:pt idx="127">
                  <c:v>17326</c:v>
                </c:pt>
                <c:pt idx="128">
                  <c:v>17333</c:v>
                </c:pt>
                <c:pt idx="129">
                  <c:v>17340</c:v>
                </c:pt>
                <c:pt idx="130">
                  <c:v>17347</c:v>
                </c:pt>
                <c:pt idx="131">
                  <c:v>17354</c:v>
                </c:pt>
                <c:pt idx="132">
                  <c:v>17361</c:v>
                </c:pt>
                <c:pt idx="133">
                  <c:v>17368</c:v>
                </c:pt>
                <c:pt idx="134">
                  <c:v>17375</c:v>
                </c:pt>
                <c:pt idx="135">
                  <c:v>17382</c:v>
                </c:pt>
                <c:pt idx="136">
                  <c:v>17389</c:v>
                </c:pt>
                <c:pt idx="137">
                  <c:v>17396</c:v>
                </c:pt>
                <c:pt idx="138">
                  <c:v>17403</c:v>
                </c:pt>
                <c:pt idx="139">
                  <c:v>17410</c:v>
                </c:pt>
                <c:pt idx="140">
                  <c:v>17417</c:v>
                </c:pt>
                <c:pt idx="141">
                  <c:v>17424</c:v>
                </c:pt>
                <c:pt idx="142">
                  <c:v>17431</c:v>
                </c:pt>
                <c:pt idx="143">
                  <c:v>17438</c:v>
                </c:pt>
                <c:pt idx="144">
                  <c:v>17445</c:v>
                </c:pt>
                <c:pt idx="145">
                  <c:v>17452</c:v>
                </c:pt>
                <c:pt idx="146">
                  <c:v>17459</c:v>
                </c:pt>
                <c:pt idx="147">
                  <c:v>17466</c:v>
                </c:pt>
                <c:pt idx="148">
                  <c:v>17473</c:v>
                </c:pt>
                <c:pt idx="149">
                  <c:v>17480</c:v>
                </c:pt>
                <c:pt idx="150">
                  <c:v>17487</c:v>
                </c:pt>
                <c:pt idx="151">
                  <c:v>17494</c:v>
                </c:pt>
                <c:pt idx="152">
                  <c:v>17501</c:v>
                </c:pt>
                <c:pt idx="153">
                  <c:v>17508</c:v>
                </c:pt>
                <c:pt idx="154">
                  <c:v>17515</c:v>
                </c:pt>
                <c:pt idx="155">
                  <c:v>17522</c:v>
                </c:pt>
                <c:pt idx="156">
                  <c:v>17529</c:v>
                </c:pt>
                <c:pt idx="157">
                  <c:v>17536</c:v>
                </c:pt>
                <c:pt idx="158">
                  <c:v>17543</c:v>
                </c:pt>
                <c:pt idx="159">
                  <c:v>17550</c:v>
                </c:pt>
                <c:pt idx="160">
                  <c:v>17557</c:v>
                </c:pt>
                <c:pt idx="161">
                  <c:v>17564</c:v>
                </c:pt>
                <c:pt idx="162">
                  <c:v>17571</c:v>
                </c:pt>
                <c:pt idx="163">
                  <c:v>17578</c:v>
                </c:pt>
                <c:pt idx="164">
                  <c:v>17585</c:v>
                </c:pt>
                <c:pt idx="165">
                  <c:v>17592</c:v>
                </c:pt>
                <c:pt idx="166">
                  <c:v>17599</c:v>
                </c:pt>
                <c:pt idx="167">
                  <c:v>17606</c:v>
                </c:pt>
                <c:pt idx="168">
                  <c:v>17613</c:v>
                </c:pt>
                <c:pt idx="169">
                  <c:v>17620</c:v>
                </c:pt>
                <c:pt idx="170">
                  <c:v>17627</c:v>
                </c:pt>
                <c:pt idx="171">
                  <c:v>17634</c:v>
                </c:pt>
                <c:pt idx="172">
                  <c:v>17641</c:v>
                </c:pt>
                <c:pt idx="173">
                  <c:v>17648</c:v>
                </c:pt>
                <c:pt idx="174">
                  <c:v>17655</c:v>
                </c:pt>
                <c:pt idx="175">
                  <c:v>17662</c:v>
                </c:pt>
                <c:pt idx="176">
                  <c:v>17669</c:v>
                </c:pt>
                <c:pt idx="177">
                  <c:v>17676</c:v>
                </c:pt>
                <c:pt idx="178">
                  <c:v>17683</c:v>
                </c:pt>
                <c:pt idx="179">
                  <c:v>17690</c:v>
                </c:pt>
                <c:pt idx="180">
                  <c:v>17697</c:v>
                </c:pt>
                <c:pt idx="181">
                  <c:v>17704</c:v>
                </c:pt>
                <c:pt idx="182">
                  <c:v>17711</c:v>
                </c:pt>
                <c:pt idx="183">
                  <c:v>17718</c:v>
                </c:pt>
                <c:pt idx="184">
                  <c:v>17725</c:v>
                </c:pt>
                <c:pt idx="185">
                  <c:v>17732</c:v>
                </c:pt>
                <c:pt idx="186">
                  <c:v>17739</c:v>
                </c:pt>
                <c:pt idx="187">
                  <c:v>17746</c:v>
                </c:pt>
                <c:pt idx="188">
                  <c:v>17753</c:v>
                </c:pt>
                <c:pt idx="189">
                  <c:v>17760</c:v>
                </c:pt>
                <c:pt idx="190">
                  <c:v>17767</c:v>
                </c:pt>
                <c:pt idx="191">
                  <c:v>17774</c:v>
                </c:pt>
                <c:pt idx="192">
                  <c:v>17781</c:v>
                </c:pt>
                <c:pt idx="193">
                  <c:v>17788</c:v>
                </c:pt>
                <c:pt idx="194">
                  <c:v>17795</c:v>
                </c:pt>
                <c:pt idx="195">
                  <c:v>17802</c:v>
                </c:pt>
                <c:pt idx="196">
                  <c:v>17809</c:v>
                </c:pt>
                <c:pt idx="197">
                  <c:v>17816</c:v>
                </c:pt>
                <c:pt idx="198">
                  <c:v>17823</c:v>
                </c:pt>
                <c:pt idx="199">
                  <c:v>17830</c:v>
                </c:pt>
                <c:pt idx="200">
                  <c:v>17837</c:v>
                </c:pt>
                <c:pt idx="201">
                  <c:v>17844</c:v>
                </c:pt>
                <c:pt idx="202">
                  <c:v>17851</c:v>
                </c:pt>
                <c:pt idx="203">
                  <c:v>17858</c:v>
                </c:pt>
                <c:pt idx="204">
                  <c:v>17865</c:v>
                </c:pt>
                <c:pt idx="205">
                  <c:v>17872</c:v>
                </c:pt>
                <c:pt idx="206">
                  <c:v>17879</c:v>
                </c:pt>
                <c:pt idx="207">
                  <c:v>17886</c:v>
                </c:pt>
                <c:pt idx="208">
                  <c:v>17893</c:v>
                </c:pt>
                <c:pt idx="209">
                  <c:v>17900</c:v>
                </c:pt>
                <c:pt idx="210">
                  <c:v>17907</c:v>
                </c:pt>
                <c:pt idx="211">
                  <c:v>17914</c:v>
                </c:pt>
                <c:pt idx="212">
                  <c:v>17921</c:v>
                </c:pt>
                <c:pt idx="213">
                  <c:v>17928</c:v>
                </c:pt>
                <c:pt idx="214">
                  <c:v>17935</c:v>
                </c:pt>
                <c:pt idx="215">
                  <c:v>17942</c:v>
                </c:pt>
                <c:pt idx="216">
                  <c:v>17949</c:v>
                </c:pt>
                <c:pt idx="217">
                  <c:v>17956</c:v>
                </c:pt>
                <c:pt idx="218">
                  <c:v>17963</c:v>
                </c:pt>
                <c:pt idx="219">
                  <c:v>17970</c:v>
                </c:pt>
                <c:pt idx="220">
                  <c:v>17977</c:v>
                </c:pt>
                <c:pt idx="221">
                  <c:v>17984</c:v>
                </c:pt>
                <c:pt idx="222">
                  <c:v>17991</c:v>
                </c:pt>
                <c:pt idx="223">
                  <c:v>17998</c:v>
                </c:pt>
                <c:pt idx="224">
                  <c:v>18005</c:v>
                </c:pt>
                <c:pt idx="225">
                  <c:v>18012</c:v>
                </c:pt>
                <c:pt idx="226">
                  <c:v>18019</c:v>
                </c:pt>
                <c:pt idx="227">
                  <c:v>18026</c:v>
                </c:pt>
                <c:pt idx="228">
                  <c:v>18033</c:v>
                </c:pt>
                <c:pt idx="229">
                  <c:v>18040</c:v>
                </c:pt>
                <c:pt idx="230">
                  <c:v>18047</c:v>
                </c:pt>
                <c:pt idx="231">
                  <c:v>18054</c:v>
                </c:pt>
                <c:pt idx="232">
                  <c:v>18061</c:v>
                </c:pt>
                <c:pt idx="233">
                  <c:v>18068</c:v>
                </c:pt>
                <c:pt idx="234">
                  <c:v>18075</c:v>
                </c:pt>
                <c:pt idx="235">
                  <c:v>18082</c:v>
                </c:pt>
                <c:pt idx="236">
                  <c:v>18089</c:v>
                </c:pt>
                <c:pt idx="237">
                  <c:v>18096</c:v>
                </c:pt>
                <c:pt idx="238">
                  <c:v>18103</c:v>
                </c:pt>
                <c:pt idx="239">
                  <c:v>18110</c:v>
                </c:pt>
                <c:pt idx="240">
                  <c:v>18117</c:v>
                </c:pt>
                <c:pt idx="241">
                  <c:v>18124</c:v>
                </c:pt>
                <c:pt idx="242">
                  <c:v>18131</c:v>
                </c:pt>
                <c:pt idx="243">
                  <c:v>18138</c:v>
                </c:pt>
                <c:pt idx="244">
                  <c:v>18145</c:v>
                </c:pt>
                <c:pt idx="245">
                  <c:v>18152</c:v>
                </c:pt>
                <c:pt idx="246">
                  <c:v>18159</c:v>
                </c:pt>
                <c:pt idx="247">
                  <c:v>18166</c:v>
                </c:pt>
                <c:pt idx="248">
                  <c:v>18173</c:v>
                </c:pt>
                <c:pt idx="249">
                  <c:v>18180</c:v>
                </c:pt>
                <c:pt idx="250">
                  <c:v>18187</c:v>
                </c:pt>
                <c:pt idx="251">
                  <c:v>18194</c:v>
                </c:pt>
                <c:pt idx="252">
                  <c:v>18201</c:v>
                </c:pt>
                <c:pt idx="253">
                  <c:v>18208</c:v>
                </c:pt>
                <c:pt idx="254">
                  <c:v>18215</c:v>
                </c:pt>
                <c:pt idx="255">
                  <c:v>18222</c:v>
                </c:pt>
                <c:pt idx="256">
                  <c:v>18229</c:v>
                </c:pt>
                <c:pt idx="257">
                  <c:v>18236</c:v>
                </c:pt>
                <c:pt idx="258">
                  <c:v>18243</c:v>
                </c:pt>
                <c:pt idx="259">
                  <c:v>18250</c:v>
                </c:pt>
                <c:pt idx="260">
                  <c:v>18257</c:v>
                </c:pt>
                <c:pt idx="261">
                  <c:v>18264</c:v>
                </c:pt>
                <c:pt idx="262">
                  <c:v>18271</c:v>
                </c:pt>
                <c:pt idx="263">
                  <c:v>18278</c:v>
                </c:pt>
                <c:pt idx="264">
                  <c:v>18285</c:v>
                </c:pt>
                <c:pt idx="265">
                  <c:v>18292</c:v>
                </c:pt>
                <c:pt idx="266">
                  <c:v>18299</c:v>
                </c:pt>
                <c:pt idx="267">
                  <c:v>18306</c:v>
                </c:pt>
                <c:pt idx="268">
                  <c:v>18313</c:v>
                </c:pt>
                <c:pt idx="269">
                  <c:v>18320</c:v>
                </c:pt>
                <c:pt idx="270">
                  <c:v>18327</c:v>
                </c:pt>
                <c:pt idx="271">
                  <c:v>18334</c:v>
                </c:pt>
                <c:pt idx="272">
                  <c:v>18341</c:v>
                </c:pt>
                <c:pt idx="273">
                  <c:v>18348</c:v>
                </c:pt>
                <c:pt idx="274">
                  <c:v>18355</c:v>
                </c:pt>
                <c:pt idx="275">
                  <c:v>18362</c:v>
                </c:pt>
                <c:pt idx="276">
                  <c:v>18369</c:v>
                </c:pt>
                <c:pt idx="277">
                  <c:v>18376</c:v>
                </c:pt>
                <c:pt idx="278">
                  <c:v>18383</c:v>
                </c:pt>
                <c:pt idx="279">
                  <c:v>18390</c:v>
                </c:pt>
                <c:pt idx="280">
                  <c:v>18397</c:v>
                </c:pt>
                <c:pt idx="281">
                  <c:v>18404</c:v>
                </c:pt>
                <c:pt idx="282">
                  <c:v>18411</c:v>
                </c:pt>
                <c:pt idx="283">
                  <c:v>18418</c:v>
                </c:pt>
                <c:pt idx="284">
                  <c:v>18425</c:v>
                </c:pt>
                <c:pt idx="285">
                  <c:v>18432</c:v>
                </c:pt>
                <c:pt idx="286">
                  <c:v>18439</c:v>
                </c:pt>
                <c:pt idx="287">
                  <c:v>18446</c:v>
                </c:pt>
                <c:pt idx="288">
                  <c:v>18453</c:v>
                </c:pt>
                <c:pt idx="289">
                  <c:v>18460</c:v>
                </c:pt>
                <c:pt idx="290">
                  <c:v>18467</c:v>
                </c:pt>
                <c:pt idx="291">
                  <c:v>18474</c:v>
                </c:pt>
                <c:pt idx="292">
                  <c:v>18481</c:v>
                </c:pt>
                <c:pt idx="293">
                  <c:v>18488</c:v>
                </c:pt>
                <c:pt idx="294">
                  <c:v>18495</c:v>
                </c:pt>
                <c:pt idx="295">
                  <c:v>18502</c:v>
                </c:pt>
                <c:pt idx="296">
                  <c:v>18509</c:v>
                </c:pt>
                <c:pt idx="297">
                  <c:v>18516</c:v>
                </c:pt>
                <c:pt idx="298">
                  <c:v>18523</c:v>
                </c:pt>
                <c:pt idx="299">
                  <c:v>18530</c:v>
                </c:pt>
                <c:pt idx="300">
                  <c:v>18537</c:v>
                </c:pt>
                <c:pt idx="301">
                  <c:v>18544</c:v>
                </c:pt>
                <c:pt idx="302">
                  <c:v>18551</c:v>
                </c:pt>
                <c:pt idx="303">
                  <c:v>18558</c:v>
                </c:pt>
                <c:pt idx="304">
                  <c:v>18565</c:v>
                </c:pt>
                <c:pt idx="305">
                  <c:v>18572</c:v>
                </c:pt>
                <c:pt idx="306">
                  <c:v>18579</c:v>
                </c:pt>
                <c:pt idx="307">
                  <c:v>18586</c:v>
                </c:pt>
                <c:pt idx="308">
                  <c:v>18593</c:v>
                </c:pt>
                <c:pt idx="309">
                  <c:v>18600</c:v>
                </c:pt>
                <c:pt idx="310">
                  <c:v>18607</c:v>
                </c:pt>
                <c:pt idx="311">
                  <c:v>18614</c:v>
                </c:pt>
                <c:pt idx="312">
                  <c:v>18621</c:v>
                </c:pt>
                <c:pt idx="313">
                  <c:v>18628</c:v>
                </c:pt>
                <c:pt idx="314">
                  <c:v>18635</c:v>
                </c:pt>
                <c:pt idx="315">
                  <c:v>18642</c:v>
                </c:pt>
                <c:pt idx="316">
                  <c:v>18649</c:v>
                </c:pt>
                <c:pt idx="317">
                  <c:v>18656</c:v>
                </c:pt>
                <c:pt idx="318">
                  <c:v>18663</c:v>
                </c:pt>
                <c:pt idx="319">
                  <c:v>18670</c:v>
                </c:pt>
                <c:pt idx="320">
                  <c:v>18677</c:v>
                </c:pt>
                <c:pt idx="321">
                  <c:v>18684</c:v>
                </c:pt>
                <c:pt idx="322">
                  <c:v>18691</c:v>
                </c:pt>
                <c:pt idx="323">
                  <c:v>18698</c:v>
                </c:pt>
                <c:pt idx="324">
                  <c:v>18705</c:v>
                </c:pt>
                <c:pt idx="325">
                  <c:v>18712</c:v>
                </c:pt>
                <c:pt idx="326">
                  <c:v>18719</c:v>
                </c:pt>
                <c:pt idx="327">
                  <c:v>18726</c:v>
                </c:pt>
                <c:pt idx="328">
                  <c:v>18733</c:v>
                </c:pt>
                <c:pt idx="329">
                  <c:v>18740</c:v>
                </c:pt>
                <c:pt idx="330">
                  <c:v>18747</c:v>
                </c:pt>
                <c:pt idx="331">
                  <c:v>18754</c:v>
                </c:pt>
                <c:pt idx="332">
                  <c:v>18761</c:v>
                </c:pt>
                <c:pt idx="333">
                  <c:v>18768</c:v>
                </c:pt>
                <c:pt idx="334">
                  <c:v>18775</c:v>
                </c:pt>
                <c:pt idx="335">
                  <c:v>18782</c:v>
                </c:pt>
                <c:pt idx="336">
                  <c:v>18789</c:v>
                </c:pt>
                <c:pt idx="337">
                  <c:v>18796</c:v>
                </c:pt>
                <c:pt idx="338">
                  <c:v>18803</c:v>
                </c:pt>
                <c:pt idx="339">
                  <c:v>18810</c:v>
                </c:pt>
                <c:pt idx="340">
                  <c:v>18817</c:v>
                </c:pt>
                <c:pt idx="341">
                  <c:v>18824</c:v>
                </c:pt>
                <c:pt idx="342">
                  <c:v>18831</c:v>
                </c:pt>
                <c:pt idx="343">
                  <c:v>18838</c:v>
                </c:pt>
                <c:pt idx="344">
                  <c:v>18845</c:v>
                </c:pt>
                <c:pt idx="345">
                  <c:v>18852</c:v>
                </c:pt>
                <c:pt idx="346">
                  <c:v>18859</c:v>
                </c:pt>
                <c:pt idx="347">
                  <c:v>18866</c:v>
                </c:pt>
                <c:pt idx="348">
                  <c:v>18873</c:v>
                </c:pt>
                <c:pt idx="349">
                  <c:v>18880</c:v>
                </c:pt>
                <c:pt idx="350">
                  <c:v>18887</c:v>
                </c:pt>
                <c:pt idx="351">
                  <c:v>18894</c:v>
                </c:pt>
                <c:pt idx="352">
                  <c:v>18901</c:v>
                </c:pt>
                <c:pt idx="353">
                  <c:v>18908</c:v>
                </c:pt>
                <c:pt idx="354">
                  <c:v>18915</c:v>
                </c:pt>
                <c:pt idx="355">
                  <c:v>18922</c:v>
                </c:pt>
                <c:pt idx="356">
                  <c:v>18929</c:v>
                </c:pt>
                <c:pt idx="357">
                  <c:v>18936</c:v>
                </c:pt>
                <c:pt idx="358">
                  <c:v>18943</c:v>
                </c:pt>
                <c:pt idx="359">
                  <c:v>18950</c:v>
                </c:pt>
                <c:pt idx="360">
                  <c:v>18957</c:v>
                </c:pt>
                <c:pt idx="361">
                  <c:v>18964</c:v>
                </c:pt>
                <c:pt idx="362">
                  <c:v>18971</c:v>
                </c:pt>
                <c:pt idx="363">
                  <c:v>18978</c:v>
                </c:pt>
                <c:pt idx="364">
                  <c:v>18985</c:v>
                </c:pt>
                <c:pt idx="365">
                  <c:v>18992</c:v>
                </c:pt>
                <c:pt idx="366">
                  <c:v>18999</c:v>
                </c:pt>
                <c:pt idx="367">
                  <c:v>19006</c:v>
                </c:pt>
                <c:pt idx="368">
                  <c:v>19013</c:v>
                </c:pt>
                <c:pt idx="369">
                  <c:v>19020</c:v>
                </c:pt>
                <c:pt idx="370">
                  <c:v>19027</c:v>
                </c:pt>
                <c:pt idx="371">
                  <c:v>19034</c:v>
                </c:pt>
                <c:pt idx="372">
                  <c:v>19041</c:v>
                </c:pt>
                <c:pt idx="373">
                  <c:v>19048</c:v>
                </c:pt>
                <c:pt idx="374">
                  <c:v>19055</c:v>
                </c:pt>
              </c:numCache>
            </c:numRef>
          </c:xVal>
          <c:yVal>
            <c:numRef>
              <c:f>Sheet1!$A$2:$NK$2</c:f>
              <c:numCache>
                <c:formatCode>General</c:formatCode>
                <c:ptCount val="375"/>
                <c:pt idx="0">
                  <c:v>56.03</c:v>
                </c:pt>
                <c:pt idx="1">
                  <c:v>49.47</c:v>
                </c:pt>
                <c:pt idx="2">
                  <c:v>46.58</c:v>
                </c:pt>
                <c:pt idx="3">
                  <c:v>46.44</c:v>
                </c:pt>
                <c:pt idx="4">
                  <c:v>46.76</c:v>
                </c:pt>
                <c:pt idx="5">
                  <c:v>54.62</c:v>
                </c:pt>
                <c:pt idx="6">
                  <c:v>56.57</c:v>
                </c:pt>
                <c:pt idx="7">
                  <c:v>60.57</c:v>
                </c:pt>
                <c:pt idx="8">
                  <c:v>60.63</c:v>
                </c:pt>
                <c:pt idx="9">
                  <c:v>60.12</c:v>
                </c:pt>
                <c:pt idx="10">
                  <c:v>56.51</c:v>
                </c:pt>
                <c:pt idx="11">
                  <c:v>52.72</c:v>
                </c:pt>
                <c:pt idx="12">
                  <c:v>55.01</c:v>
                </c:pt>
                <c:pt idx="13">
                  <c:v>54.79</c:v>
                </c:pt>
                <c:pt idx="14">
                  <c:v>56.51</c:v>
                </c:pt>
                <c:pt idx="15">
                  <c:v>59.12</c:v>
                </c:pt>
                <c:pt idx="16">
                  <c:v>61.41</c:v>
                </c:pt>
                <c:pt idx="17">
                  <c:v>63.49</c:v>
                </c:pt>
                <c:pt idx="18">
                  <c:v>65.010000000000005</c:v>
                </c:pt>
                <c:pt idx="19">
                  <c:v>64.900000000000006</c:v>
                </c:pt>
                <c:pt idx="20">
                  <c:v>64.31</c:v>
                </c:pt>
                <c:pt idx="21">
                  <c:v>61.57</c:v>
                </c:pt>
                <c:pt idx="22">
                  <c:v>61.9</c:v>
                </c:pt>
                <c:pt idx="23">
                  <c:v>63.24</c:v>
                </c:pt>
                <c:pt idx="24">
                  <c:v>60.65</c:v>
                </c:pt>
                <c:pt idx="25">
                  <c:v>60.84</c:v>
                </c:pt>
                <c:pt idx="26">
                  <c:v>60.36</c:v>
                </c:pt>
                <c:pt idx="27">
                  <c:v>56.63</c:v>
                </c:pt>
                <c:pt idx="28">
                  <c:v>57.17</c:v>
                </c:pt>
                <c:pt idx="29">
                  <c:v>55.75</c:v>
                </c:pt>
                <c:pt idx="30">
                  <c:v>54.14</c:v>
                </c:pt>
                <c:pt idx="31">
                  <c:v>48.59</c:v>
                </c:pt>
                <c:pt idx="32">
                  <c:v>47.94</c:v>
                </c:pt>
                <c:pt idx="33">
                  <c:v>46</c:v>
                </c:pt>
                <c:pt idx="34">
                  <c:v>43.53</c:v>
                </c:pt>
                <c:pt idx="35">
                  <c:v>48.87</c:v>
                </c:pt>
                <c:pt idx="36">
                  <c:v>47.6</c:v>
                </c:pt>
                <c:pt idx="37">
                  <c:v>47.34</c:v>
                </c:pt>
                <c:pt idx="38">
                  <c:v>47.33</c:v>
                </c:pt>
                <c:pt idx="39">
                  <c:v>46.99</c:v>
                </c:pt>
                <c:pt idx="40">
                  <c:v>51.33</c:v>
                </c:pt>
                <c:pt idx="41">
                  <c:v>48.99</c:v>
                </c:pt>
                <c:pt idx="42">
                  <c:v>46.81</c:v>
                </c:pt>
                <c:pt idx="43">
                  <c:v>47.15</c:v>
                </c:pt>
                <c:pt idx="44">
                  <c:v>47.23</c:v>
                </c:pt>
                <c:pt idx="45">
                  <c:v>44.75</c:v>
                </c:pt>
                <c:pt idx="46">
                  <c:v>41.54</c:v>
                </c:pt>
                <c:pt idx="47">
                  <c:v>43.65</c:v>
                </c:pt>
                <c:pt idx="48">
                  <c:v>42.41</c:v>
                </c:pt>
                <c:pt idx="49">
                  <c:v>38.76</c:v>
                </c:pt>
                <c:pt idx="50">
                  <c:v>36.840000000000003</c:v>
                </c:pt>
                <c:pt idx="51">
                  <c:v>35.9</c:v>
                </c:pt>
                <c:pt idx="52">
                  <c:v>36.549999999999997</c:v>
                </c:pt>
                <c:pt idx="53">
                  <c:v>34.19</c:v>
                </c:pt>
                <c:pt idx="54">
                  <c:v>29.1</c:v>
                </c:pt>
                <c:pt idx="55">
                  <c:v>27.76</c:v>
                </c:pt>
                <c:pt idx="56">
                  <c:v>31.75</c:v>
                </c:pt>
                <c:pt idx="57">
                  <c:v>32.18</c:v>
                </c:pt>
                <c:pt idx="58">
                  <c:v>30.41</c:v>
                </c:pt>
                <c:pt idx="59">
                  <c:v>32.29</c:v>
                </c:pt>
                <c:pt idx="60">
                  <c:v>33.119999999999997</c:v>
                </c:pt>
                <c:pt idx="61">
                  <c:v>36.28</c:v>
                </c:pt>
                <c:pt idx="62">
                  <c:v>39.299999999999997</c:v>
                </c:pt>
                <c:pt idx="63">
                  <c:v>38.5</c:v>
                </c:pt>
                <c:pt idx="64">
                  <c:v>39.409999999999997</c:v>
                </c:pt>
                <c:pt idx="65">
                  <c:v>37</c:v>
                </c:pt>
                <c:pt idx="66">
                  <c:v>37.51</c:v>
                </c:pt>
                <c:pt idx="67">
                  <c:v>42.35</c:v>
                </c:pt>
                <c:pt idx="68">
                  <c:v>43.04</c:v>
                </c:pt>
                <c:pt idx="69">
                  <c:v>44.46</c:v>
                </c:pt>
                <c:pt idx="70">
                  <c:v>44.2</c:v>
                </c:pt>
                <c:pt idx="71">
                  <c:v>45.2</c:v>
                </c:pt>
                <c:pt idx="72">
                  <c:v>48.34</c:v>
                </c:pt>
                <c:pt idx="73">
                  <c:v>48.73</c:v>
                </c:pt>
                <c:pt idx="74">
                  <c:v>48.91</c:v>
                </c:pt>
                <c:pt idx="75">
                  <c:v>49.94</c:v>
                </c:pt>
                <c:pt idx="76">
                  <c:v>47.39</c:v>
                </c:pt>
                <c:pt idx="77">
                  <c:v>48.12</c:v>
                </c:pt>
                <c:pt idx="78">
                  <c:v>47.09</c:v>
                </c:pt>
                <c:pt idx="79">
                  <c:v>45.96</c:v>
                </c:pt>
                <c:pt idx="80">
                  <c:v>45.54</c:v>
                </c:pt>
                <c:pt idx="81">
                  <c:v>45.22</c:v>
                </c:pt>
                <c:pt idx="82">
                  <c:v>42.55</c:v>
                </c:pt>
                <c:pt idx="83">
                  <c:v>40.880000000000003</c:v>
                </c:pt>
                <c:pt idx="84">
                  <c:v>43.63</c:v>
                </c:pt>
                <c:pt idx="85">
                  <c:v>48.6</c:v>
                </c:pt>
                <c:pt idx="86">
                  <c:v>48.65</c:v>
                </c:pt>
                <c:pt idx="87">
                  <c:v>47.31</c:v>
                </c:pt>
                <c:pt idx="88">
                  <c:v>47.51</c:v>
                </c:pt>
                <c:pt idx="89">
                  <c:v>46.21</c:v>
                </c:pt>
                <c:pt idx="90">
                  <c:v>46.24</c:v>
                </c:pt>
                <c:pt idx="91">
                  <c:v>46.74</c:v>
                </c:pt>
                <c:pt idx="92">
                  <c:v>49.52</c:v>
                </c:pt>
                <c:pt idx="93">
                  <c:v>49.94</c:v>
                </c:pt>
                <c:pt idx="94">
                  <c:v>50.33</c:v>
                </c:pt>
                <c:pt idx="95">
                  <c:v>48.95</c:v>
                </c:pt>
                <c:pt idx="96">
                  <c:v>44.63</c:v>
                </c:pt>
                <c:pt idx="97">
                  <c:v>43.09</c:v>
                </c:pt>
                <c:pt idx="98">
                  <c:v>44.01</c:v>
                </c:pt>
                <c:pt idx="99">
                  <c:v>46.49</c:v>
                </c:pt>
                <c:pt idx="100">
                  <c:v>48.78</c:v>
                </c:pt>
                <c:pt idx="101">
                  <c:v>52.26</c:v>
                </c:pt>
                <c:pt idx="102">
                  <c:v>53.26</c:v>
                </c:pt>
                <c:pt idx="103">
                  <c:v>53.81</c:v>
                </c:pt>
                <c:pt idx="104">
                  <c:v>54.96</c:v>
                </c:pt>
                <c:pt idx="105">
                  <c:v>55.13</c:v>
                </c:pt>
                <c:pt idx="106">
                  <c:v>54.02</c:v>
                </c:pt>
                <c:pt idx="107">
                  <c:v>54.19</c:v>
                </c:pt>
                <c:pt idx="108">
                  <c:v>54.91</c:v>
                </c:pt>
                <c:pt idx="109">
                  <c:v>55.53</c:v>
                </c:pt>
                <c:pt idx="110">
                  <c:v>54.48</c:v>
                </c:pt>
                <c:pt idx="111">
                  <c:v>54.46</c:v>
                </c:pt>
                <c:pt idx="112">
                  <c:v>55.4</c:v>
                </c:pt>
                <c:pt idx="113">
                  <c:v>54.4</c:v>
                </c:pt>
                <c:pt idx="114">
                  <c:v>52.78</c:v>
                </c:pt>
                <c:pt idx="115">
                  <c:v>50.29</c:v>
                </c:pt>
                <c:pt idx="116">
                  <c:v>50.1</c:v>
                </c:pt>
                <c:pt idx="117">
                  <c:v>51.33</c:v>
                </c:pt>
                <c:pt idx="118">
                  <c:v>53.28</c:v>
                </c:pt>
                <c:pt idx="119">
                  <c:v>54.83</c:v>
                </c:pt>
                <c:pt idx="120">
                  <c:v>52.08</c:v>
                </c:pt>
                <c:pt idx="121">
                  <c:v>49.55</c:v>
                </c:pt>
                <c:pt idx="122">
                  <c:v>48.7</c:v>
                </c:pt>
                <c:pt idx="123">
                  <c:v>48</c:v>
                </c:pt>
                <c:pt idx="124">
                  <c:v>51.75</c:v>
                </c:pt>
                <c:pt idx="125">
                  <c:v>52.58</c:v>
                </c:pt>
                <c:pt idx="126">
                  <c:v>50.23</c:v>
                </c:pt>
                <c:pt idx="127">
                  <c:v>47.28</c:v>
                </c:pt>
                <c:pt idx="128">
                  <c:v>46.18</c:v>
                </c:pt>
                <c:pt idx="129">
                  <c:v>44.63</c:v>
                </c:pt>
                <c:pt idx="130">
                  <c:v>46.16</c:v>
                </c:pt>
                <c:pt idx="131">
                  <c:v>48.17</c:v>
                </c:pt>
                <c:pt idx="132">
                  <c:v>47.1</c:v>
                </c:pt>
                <c:pt idx="133">
                  <c:v>47.99</c:v>
                </c:pt>
                <c:pt idx="134">
                  <c:v>49.95</c:v>
                </c:pt>
                <c:pt idx="135">
                  <c:v>52.04</c:v>
                </c:pt>
                <c:pt idx="136">
                  <c:v>51.96</c:v>
                </c:pt>
                <c:pt idx="137">
                  <c:v>50.58</c:v>
                </c:pt>
                <c:pt idx="138">
                  <c:v>52.03</c:v>
                </c:pt>
                <c:pt idx="139">
                  <c:v>52.25</c:v>
                </c:pt>
                <c:pt idx="140">
                  <c:v>53.88</c:v>
                </c:pt>
                <c:pt idx="141">
                  <c:v>55.54</c:v>
                </c:pt>
                <c:pt idx="142">
                  <c:v>57.03</c:v>
                </c:pt>
                <c:pt idx="143">
                  <c:v>58.75</c:v>
                </c:pt>
                <c:pt idx="144">
                  <c:v>56.08</c:v>
                </c:pt>
                <c:pt idx="145">
                  <c:v>56.21</c:v>
                </c:pt>
                <c:pt idx="146">
                  <c:v>57.78</c:v>
                </c:pt>
                <c:pt idx="147">
                  <c:v>58.58</c:v>
                </c:pt>
                <c:pt idx="148">
                  <c:v>61.04</c:v>
                </c:pt>
                <c:pt idx="149">
                  <c:v>64.290000000000006</c:v>
                </c:pt>
                <c:pt idx="150">
                  <c:v>61.52</c:v>
                </c:pt>
                <c:pt idx="151">
                  <c:v>62.68</c:v>
                </c:pt>
                <c:pt idx="152">
                  <c:v>63.73</c:v>
                </c:pt>
                <c:pt idx="153">
                  <c:v>63.08</c:v>
                </c:pt>
                <c:pt idx="154">
                  <c:v>64.349999999999994</c:v>
                </c:pt>
                <c:pt idx="155">
                  <c:v>64.36</c:v>
                </c:pt>
                <c:pt idx="156">
                  <c:v>66.52</c:v>
                </c:pt>
                <c:pt idx="157">
                  <c:v>67.81</c:v>
                </c:pt>
                <c:pt idx="158">
                  <c:v>69.47</c:v>
                </c:pt>
                <c:pt idx="159">
                  <c:v>69.39</c:v>
                </c:pt>
                <c:pt idx="160">
                  <c:v>70.040000000000006</c:v>
                </c:pt>
                <c:pt idx="161">
                  <c:v>68</c:v>
                </c:pt>
                <c:pt idx="162">
                  <c:v>65.5</c:v>
                </c:pt>
                <c:pt idx="163">
                  <c:v>62.72</c:v>
                </c:pt>
                <c:pt idx="164">
                  <c:v>65.52</c:v>
                </c:pt>
                <c:pt idx="165">
                  <c:v>66.02</c:v>
                </c:pt>
                <c:pt idx="166">
                  <c:v>65.12</c:v>
                </c:pt>
                <c:pt idx="167">
                  <c:v>64.14</c:v>
                </c:pt>
                <c:pt idx="168">
                  <c:v>67.400000000000006</c:v>
                </c:pt>
                <c:pt idx="169">
                  <c:v>68.650000000000006</c:v>
                </c:pt>
                <c:pt idx="170">
                  <c:v>67.03</c:v>
                </c:pt>
                <c:pt idx="171">
                  <c:v>71.239999999999995</c:v>
                </c:pt>
                <c:pt idx="172">
                  <c:v>73.39</c:v>
                </c:pt>
                <c:pt idx="173">
                  <c:v>74.98</c:v>
                </c:pt>
                <c:pt idx="174">
                  <c:v>74.42</c:v>
                </c:pt>
                <c:pt idx="175">
                  <c:v>76.680000000000007</c:v>
                </c:pt>
                <c:pt idx="176">
                  <c:v>78.75</c:v>
                </c:pt>
                <c:pt idx="177">
                  <c:v>78.59</c:v>
                </c:pt>
                <c:pt idx="178">
                  <c:v>75.349999999999994</c:v>
                </c:pt>
                <c:pt idx="179">
                  <c:v>73.98</c:v>
                </c:pt>
                <c:pt idx="180">
                  <c:v>74.260000000000005</c:v>
                </c:pt>
                <c:pt idx="181">
                  <c:v>74.12</c:v>
                </c:pt>
                <c:pt idx="182">
                  <c:v>75.239999999999995</c:v>
                </c:pt>
                <c:pt idx="183">
                  <c:v>76.33</c:v>
                </c:pt>
                <c:pt idx="184">
                  <c:v>75.290000000000006</c:v>
                </c:pt>
                <c:pt idx="185">
                  <c:v>71.27</c:v>
                </c:pt>
                <c:pt idx="186">
                  <c:v>74</c:v>
                </c:pt>
                <c:pt idx="187">
                  <c:v>73.37</c:v>
                </c:pt>
                <c:pt idx="188">
                  <c:v>71.42</c:v>
                </c:pt>
                <c:pt idx="189">
                  <c:v>69.819999999999993</c:v>
                </c:pt>
                <c:pt idx="190">
                  <c:v>72.77</c:v>
                </c:pt>
                <c:pt idx="191">
                  <c:v>76.08</c:v>
                </c:pt>
                <c:pt idx="192">
                  <c:v>76.64</c:v>
                </c:pt>
                <c:pt idx="193">
                  <c:v>78.11</c:v>
                </c:pt>
                <c:pt idx="194">
                  <c:v>78.97</c:v>
                </c:pt>
                <c:pt idx="195">
                  <c:v>81.849999999999994</c:v>
                </c:pt>
                <c:pt idx="196">
                  <c:v>85.44</c:v>
                </c:pt>
                <c:pt idx="197">
                  <c:v>83.05</c:v>
                </c:pt>
                <c:pt idx="198">
                  <c:v>80.41</c:v>
                </c:pt>
                <c:pt idx="199">
                  <c:v>78.23</c:v>
                </c:pt>
                <c:pt idx="200">
                  <c:v>74.09</c:v>
                </c:pt>
                <c:pt idx="201">
                  <c:v>70.34</c:v>
                </c:pt>
                <c:pt idx="202">
                  <c:v>66.209999999999994</c:v>
                </c:pt>
                <c:pt idx="203">
                  <c:v>61.22</c:v>
                </c:pt>
                <c:pt idx="204">
                  <c:v>58.65</c:v>
                </c:pt>
                <c:pt idx="205">
                  <c:v>60.47</c:v>
                </c:pt>
                <c:pt idx="206">
                  <c:v>59.51</c:v>
                </c:pt>
                <c:pt idx="207">
                  <c:v>54.64</c:v>
                </c:pt>
                <c:pt idx="208">
                  <c:v>51.03</c:v>
                </c:pt>
                <c:pt idx="209">
                  <c:v>54.31</c:v>
                </c:pt>
                <c:pt idx="210">
                  <c:v>58.64</c:v>
                </c:pt>
                <c:pt idx="211">
                  <c:v>59.83</c:v>
                </c:pt>
                <c:pt idx="212">
                  <c:v>61.34</c:v>
                </c:pt>
                <c:pt idx="213">
                  <c:v>61.38</c:v>
                </c:pt>
                <c:pt idx="214">
                  <c:v>61.71</c:v>
                </c:pt>
                <c:pt idx="215">
                  <c:v>63.36</c:v>
                </c:pt>
                <c:pt idx="216">
                  <c:v>66.58</c:v>
                </c:pt>
                <c:pt idx="217">
                  <c:v>64.56</c:v>
                </c:pt>
                <c:pt idx="218">
                  <c:v>64.73</c:v>
                </c:pt>
                <c:pt idx="219">
                  <c:v>65.709999999999994</c:v>
                </c:pt>
                <c:pt idx="220">
                  <c:v>67.34</c:v>
                </c:pt>
                <c:pt idx="221">
                  <c:v>67.25</c:v>
                </c:pt>
                <c:pt idx="222">
                  <c:v>69.540000000000006</c:v>
                </c:pt>
                <c:pt idx="223">
                  <c:v>71.33</c:v>
                </c:pt>
                <c:pt idx="224">
                  <c:v>70.87</c:v>
                </c:pt>
                <c:pt idx="225">
                  <c:v>72.930000000000007</c:v>
                </c:pt>
                <c:pt idx="226">
                  <c:v>71.59</c:v>
                </c:pt>
                <c:pt idx="227">
                  <c:v>71.25</c:v>
                </c:pt>
                <c:pt idx="228">
                  <c:v>73.319999999999993</c:v>
                </c:pt>
                <c:pt idx="229">
                  <c:v>70.89</c:v>
                </c:pt>
                <c:pt idx="230">
                  <c:v>69.290000000000006</c:v>
                </c:pt>
                <c:pt idx="231">
                  <c:v>63.15</c:v>
                </c:pt>
                <c:pt idx="232">
                  <c:v>63.19</c:v>
                </c:pt>
                <c:pt idx="233">
                  <c:v>64.040000000000006</c:v>
                </c:pt>
                <c:pt idx="234">
                  <c:v>66.510000000000005</c:v>
                </c:pt>
                <c:pt idx="235">
                  <c:v>63.84</c:v>
                </c:pt>
                <c:pt idx="236">
                  <c:v>65.98</c:v>
                </c:pt>
                <c:pt idx="237">
                  <c:v>63.63</c:v>
                </c:pt>
                <c:pt idx="238">
                  <c:v>62.8</c:v>
                </c:pt>
                <c:pt idx="239">
                  <c:v>62.59</c:v>
                </c:pt>
                <c:pt idx="240">
                  <c:v>57.33</c:v>
                </c:pt>
                <c:pt idx="241">
                  <c:v>58.25</c:v>
                </c:pt>
                <c:pt idx="242">
                  <c:v>59.57</c:v>
                </c:pt>
                <c:pt idx="243">
                  <c:v>59.83</c:v>
                </c:pt>
                <c:pt idx="244">
                  <c:v>60.23</c:v>
                </c:pt>
                <c:pt idx="245">
                  <c:v>62.74</c:v>
                </c:pt>
                <c:pt idx="246">
                  <c:v>65.56</c:v>
                </c:pt>
                <c:pt idx="247">
                  <c:v>63.15</c:v>
                </c:pt>
                <c:pt idx="248">
                  <c:v>59.22</c:v>
                </c:pt>
                <c:pt idx="249">
                  <c:v>59.39</c:v>
                </c:pt>
                <c:pt idx="250">
                  <c:v>59.32</c:v>
                </c:pt>
                <c:pt idx="251">
                  <c:v>60.75</c:v>
                </c:pt>
                <c:pt idx="252">
                  <c:v>60.23</c:v>
                </c:pt>
                <c:pt idx="253">
                  <c:v>62.39</c:v>
                </c:pt>
                <c:pt idx="254">
                  <c:v>62.56</c:v>
                </c:pt>
                <c:pt idx="255">
                  <c:v>63.76</c:v>
                </c:pt>
                <c:pt idx="256">
                  <c:v>64.739999999999995</c:v>
                </c:pt>
                <c:pt idx="257">
                  <c:v>64.709999999999994</c:v>
                </c:pt>
                <c:pt idx="258">
                  <c:v>66.5</c:v>
                </c:pt>
                <c:pt idx="259">
                  <c:v>68.900000000000006</c:v>
                </c:pt>
                <c:pt idx="260">
                  <c:v>68.73</c:v>
                </c:pt>
                <c:pt idx="261">
                  <c:v>68.069999999999993</c:v>
                </c:pt>
                <c:pt idx="262">
                  <c:v>67.930000000000007</c:v>
                </c:pt>
                <c:pt idx="263">
                  <c:v>64.11</c:v>
                </c:pt>
                <c:pt idx="264">
                  <c:v>62.2</c:v>
                </c:pt>
                <c:pt idx="265">
                  <c:v>58.57</c:v>
                </c:pt>
                <c:pt idx="266">
                  <c:v>54.59</c:v>
                </c:pt>
                <c:pt idx="267">
                  <c:v>55.33</c:v>
                </c:pt>
                <c:pt idx="268">
                  <c:v>58.61</c:v>
                </c:pt>
                <c:pt idx="269">
                  <c:v>54.09</c:v>
                </c:pt>
                <c:pt idx="270">
                  <c:v>50.7</c:v>
                </c:pt>
                <c:pt idx="271">
                  <c:v>33.72</c:v>
                </c:pt>
                <c:pt idx="272">
                  <c:v>25.65</c:v>
                </c:pt>
                <c:pt idx="273">
                  <c:v>23.96</c:v>
                </c:pt>
                <c:pt idx="274">
                  <c:v>18.72</c:v>
                </c:pt>
                <c:pt idx="275">
                  <c:v>22.53</c:v>
                </c:pt>
                <c:pt idx="276">
                  <c:v>20</c:v>
                </c:pt>
                <c:pt idx="277">
                  <c:v>14.24</c:v>
                </c:pt>
                <c:pt idx="278">
                  <c:v>17.05</c:v>
                </c:pt>
                <c:pt idx="279">
                  <c:v>23.57</c:v>
                </c:pt>
                <c:pt idx="280">
                  <c:v>28.18</c:v>
                </c:pt>
                <c:pt idx="281">
                  <c:v>33.94</c:v>
                </c:pt>
                <c:pt idx="282">
                  <c:v>33.700000000000003</c:v>
                </c:pt>
                <c:pt idx="283">
                  <c:v>38.369999999999997</c:v>
                </c:pt>
                <c:pt idx="284">
                  <c:v>39.520000000000003</c:v>
                </c:pt>
                <c:pt idx="285">
                  <c:v>40.950000000000003</c:v>
                </c:pt>
                <c:pt idx="286">
                  <c:v>41.69</c:v>
                </c:pt>
                <c:pt idx="287">
                  <c:v>42.3</c:v>
                </c:pt>
                <c:pt idx="288">
                  <c:v>43.06</c:v>
                </c:pt>
                <c:pt idx="289">
                  <c:v>43.4</c:v>
                </c:pt>
                <c:pt idx="290">
                  <c:v>43.57</c:v>
                </c:pt>
                <c:pt idx="291">
                  <c:v>43.22</c:v>
                </c:pt>
                <c:pt idx="292">
                  <c:v>44.36</c:v>
                </c:pt>
                <c:pt idx="293">
                  <c:v>44.54</c:v>
                </c:pt>
                <c:pt idx="294">
                  <c:v>44.79</c:v>
                </c:pt>
                <c:pt idx="295">
                  <c:v>45.26</c:v>
                </c:pt>
                <c:pt idx="296">
                  <c:v>43.06</c:v>
                </c:pt>
                <c:pt idx="297">
                  <c:v>39.450000000000003</c:v>
                </c:pt>
                <c:pt idx="298">
                  <c:v>40.770000000000003</c:v>
                </c:pt>
                <c:pt idx="299">
                  <c:v>40.89</c:v>
                </c:pt>
                <c:pt idx="300">
                  <c:v>39.99</c:v>
                </c:pt>
                <c:pt idx="301">
                  <c:v>41.06</c:v>
                </c:pt>
                <c:pt idx="302">
                  <c:v>41.32</c:v>
                </c:pt>
                <c:pt idx="303">
                  <c:v>41</c:v>
                </c:pt>
                <c:pt idx="304">
                  <c:v>37.909999999999997</c:v>
                </c:pt>
                <c:pt idx="305">
                  <c:v>38.64</c:v>
                </c:pt>
                <c:pt idx="306">
                  <c:v>41.87</c:v>
                </c:pt>
                <c:pt idx="307">
                  <c:v>43.01</c:v>
                </c:pt>
                <c:pt idx="308">
                  <c:v>46.43</c:v>
                </c:pt>
                <c:pt idx="309">
                  <c:v>47.83</c:v>
                </c:pt>
                <c:pt idx="310">
                  <c:v>49.32</c:v>
                </c:pt>
                <c:pt idx="311">
                  <c:v>51.05</c:v>
                </c:pt>
                <c:pt idx="312">
                  <c:v>50.61</c:v>
                </c:pt>
                <c:pt idx="313">
                  <c:v>50.82</c:v>
                </c:pt>
                <c:pt idx="314">
                  <c:v>53.31</c:v>
                </c:pt>
                <c:pt idx="315">
                  <c:v>55.38</c:v>
                </c:pt>
                <c:pt idx="316">
                  <c:v>55.23</c:v>
                </c:pt>
                <c:pt idx="317">
                  <c:v>55.18</c:v>
                </c:pt>
                <c:pt idx="318">
                  <c:v>58.22</c:v>
                </c:pt>
                <c:pt idx="319">
                  <c:v>61.13</c:v>
                </c:pt>
                <c:pt idx="320">
                  <c:v>63.9</c:v>
                </c:pt>
                <c:pt idx="321">
                  <c:v>65.86</c:v>
                </c:pt>
                <c:pt idx="322">
                  <c:v>65.94</c:v>
                </c:pt>
                <c:pt idx="323">
                  <c:v>68.150000000000006</c:v>
                </c:pt>
                <c:pt idx="324">
                  <c:v>66.11</c:v>
                </c:pt>
                <c:pt idx="325">
                  <c:v>62.51</c:v>
                </c:pt>
                <c:pt idx="326">
                  <c:v>63.68</c:v>
                </c:pt>
                <c:pt idx="327">
                  <c:v>61.83</c:v>
                </c:pt>
                <c:pt idx="328">
                  <c:v>64.69</c:v>
                </c:pt>
                <c:pt idx="329">
                  <c:v>65.34</c:v>
                </c:pt>
                <c:pt idx="330">
                  <c:v>66.959999999999994</c:v>
                </c:pt>
                <c:pt idx="331">
                  <c:v>68.989999999999995</c:v>
                </c:pt>
                <c:pt idx="332">
                  <c:v>68.73</c:v>
                </c:pt>
                <c:pt idx="333">
                  <c:v>67.48</c:v>
                </c:pt>
                <c:pt idx="334">
                  <c:v>69.02</c:v>
                </c:pt>
                <c:pt idx="335">
                  <c:v>70.66</c:v>
                </c:pt>
                <c:pt idx="336">
                  <c:v>71.459999999999994</c:v>
                </c:pt>
                <c:pt idx="337">
                  <c:v>73.11</c:v>
                </c:pt>
                <c:pt idx="338">
                  <c:v>75.41</c:v>
                </c:pt>
                <c:pt idx="339">
                  <c:v>76.260000000000005</c:v>
                </c:pt>
                <c:pt idx="340">
                  <c:v>76.13</c:v>
                </c:pt>
                <c:pt idx="341">
                  <c:v>75.8</c:v>
                </c:pt>
                <c:pt idx="342">
                  <c:v>72.2</c:v>
                </c:pt>
                <c:pt idx="343">
                  <c:v>75.75</c:v>
                </c:pt>
                <c:pt idx="344">
                  <c:v>72.260000000000005</c:v>
                </c:pt>
                <c:pt idx="345">
                  <c:v>71.09</c:v>
                </c:pt>
                <c:pt idx="346">
                  <c:v>68.08</c:v>
                </c:pt>
                <c:pt idx="347">
                  <c:v>71.02</c:v>
                </c:pt>
                <c:pt idx="348">
                  <c:v>73.02</c:v>
                </c:pt>
                <c:pt idx="349">
                  <c:v>72.010000000000005</c:v>
                </c:pt>
                <c:pt idx="350">
                  <c:v>74.13</c:v>
                </c:pt>
                <c:pt idx="351">
                  <c:v>75.319999999999993</c:v>
                </c:pt>
                <c:pt idx="352">
                  <c:v>78.44</c:v>
                </c:pt>
                <c:pt idx="353">
                  <c:v>82.01</c:v>
                </c:pt>
                <c:pt idx="354">
                  <c:v>83.87</c:v>
                </c:pt>
                <c:pt idx="355">
                  <c:v>84.98</c:v>
                </c:pt>
                <c:pt idx="356">
                  <c:v>84.12</c:v>
                </c:pt>
                <c:pt idx="357">
                  <c:v>82.52</c:v>
                </c:pt>
                <c:pt idx="358">
                  <c:v>83.39</c:v>
                </c:pt>
                <c:pt idx="359">
                  <c:v>81.63</c:v>
                </c:pt>
                <c:pt idx="360">
                  <c:v>80.239999999999995</c:v>
                </c:pt>
                <c:pt idx="361">
                  <c:v>71</c:v>
                </c:pt>
                <c:pt idx="362">
                  <c:v>74.790000000000006</c:v>
                </c:pt>
                <c:pt idx="363">
                  <c:v>73.760000000000005</c:v>
                </c:pt>
                <c:pt idx="364">
                  <c:v>73.91</c:v>
                </c:pt>
                <c:pt idx="365">
                  <c:v>78.16</c:v>
                </c:pt>
                <c:pt idx="366">
                  <c:v>80.5</c:v>
                </c:pt>
                <c:pt idx="367">
                  <c:v>85.07</c:v>
                </c:pt>
                <c:pt idx="368">
                  <c:v>89.16</c:v>
                </c:pt>
                <c:pt idx="369">
                  <c:v>90.12</c:v>
                </c:pt>
                <c:pt idx="370">
                  <c:v>92.77</c:v>
                </c:pt>
                <c:pt idx="371">
                  <c:v>96.43</c:v>
                </c:pt>
                <c:pt idx="372">
                  <c:v>97.8</c:v>
                </c:pt>
                <c:pt idx="373">
                  <c:v>99.36</c:v>
                </c:pt>
                <c:pt idx="374">
                  <c:v>114.43</c:v>
                </c:pt>
              </c:numCache>
            </c:numRef>
          </c:yVal>
          <c:smooth val="0"/>
          <c:extLst>
            <c:ext xmlns:c16="http://schemas.microsoft.com/office/drawing/2014/chart" uri="{C3380CC4-5D6E-409C-BE32-E72D297353CC}">
              <c16:uniqueId val="{00000000-DBAD-46D6-B4EB-8FFE57445CC7}"/>
            </c:ext>
          </c:extLst>
        </c:ser>
        <c:dLbls>
          <c:showLegendKey val="0"/>
          <c:showVal val="0"/>
          <c:showCatName val="0"/>
          <c:showSerName val="0"/>
          <c:showPercent val="0"/>
          <c:showBubbleSize val="0"/>
        </c:dLbls>
        <c:axId val="1294452048"/>
        <c:axId val="1"/>
      </c:scatterChart>
      <c:valAx>
        <c:axId val="1294452048"/>
        <c:scaling>
          <c:orientation val="minMax"/>
          <c:max val="19144"/>
          <c:min val="16436"/>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val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294452048"/>
        <c:crosses val="min"/>
        <c:crossBetween val="midCat"/>
        <c:majorUnit val="4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326086956521736E-2"/>
          <c:y val="3.5326086956521736E-2"/>
          <c:w val="0.92934782608695654"/>
          <c:h val="0.92934782608695654"/>
        </c:manualLayout>
      </c:layout>
      <c:doughnutChart>
        <c:varyColors val="0"/>
        <c:ser>
          <c:idx val="0"/>
          <c:order val="0"/>
          <c:dPt>
            <c:idx val="0"/>
            <c:bubble3D val="0"/>
            <c:spPr>
              <a:solidFill>
                <a:schemeClr val="accent5"/>
              </a:solidFill>
              <a:ln w="9525" cap="flat" algn="ctr">
                <a:solidFill>
                  <a:schemeClr val="bg1"/>
                </a:solidFill>
                <a:prstDash val="solid"/>
              </a:ln>
            </c:spPr>
            <c:extLst>
              <c:ext xmlns:c16="http://schemas.microsoft.com/office/drawing/2014/chart" uri="{C3380CC4-5D6E-409C-BE32-E72D297353CC}">
                <c16:uniqueId val="{00000000-B7DF-4ACF-95EA-927B07E5A149}"/>
              </c:ext>
            </c:extLst>
          </c:dPt>
          <c:dPt>
            <c:idx val="1"/>
            <c:bubble3D val="0"/>
            <c:spPr>
              <a:solidFill>
                <a:schemeClr val="bg2"/>
              </a:solidFill>
              <a:ln w="9525" cap="flat" algn="ctr">
                <a:solidFill>
                  <a:schemeClr val="bg1"/>
                </a:solidFill>
                <a:prstDash val="solid"/>
              </a:ln>
            </c:spPr>
            <c:extLst>
              <c:ext xmlns:c16="http://schemas.microsoft.com/office/drawing/2014/chart" uri="{C3380CC4-5D6E-409C-BE32-E72D297353CC}">
                <c16:uniqueId val="{00000001-B7DF-4ACF-95EA-927B07E5A149}"/>
              </c:ext>
            </c:extLst>
          </c:dPt>
          <c:dPt>
            <c:idx val="2"/>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2-B7DF-4ACF-95EA-927B07E5A149}"/>
              </c:ext>
            </c:extLst>
          </c:dPt>
          <c:dLbls>
            <c:dLbl>
              <c:idx val="0"/>
              <c:layout>
                <c:manualLayout>
                  <c:x val="3.7364130434782608E-2"/>
                  <c:y val="1.2907608695652174E-2"/>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DF-4ACF-95EA-927B07E5A149}"/>
                </c:ext>
              </c:extLst>
            </c:dLbl>
            <c:dLbl>
              <c:idx val="1"/>
              <c:layout>
                <c:manualLayout>
                  <c:x val="-4.0081521739130432E-2"/>
                  <c:y val="9.5108695652173919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DF-4ACF-95EA-927B07E5A149}"/>
                </c:ext>
              </c:extLst>
            </c:dLbl>
            <c:dLbl>
              <c:idx val="2"/>
              <c:layout>
                <c:manualLayout>
                  <c:x val="-2.6494565217391304E-2"/>
                  <c:y val="-3.4646739130434784E-2"/>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DF-4ACF-95EA-927B07E5A1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805900856711041</c:v>
                </c:pt>
                <c:pt idx="1">
                  <c:v>15.143475643106379</c:v>
                </c:pt>
                <c:pt idx="2">
                  <c:v>22.050623500182589</c:v>
                </c:pt>
              </c:numCache>
            </c:numRef>
          </c:val>
          <c:extLst>
            <c:ext xmlns:c16="http://schemas.microsoft.com/office/drawing/2014/chart" uri="{C3380CC4-5D6E-409C-BE32-E72D297353CC}">
              <c16:uniqueId val="{00000003-B7DF-4ACF-95EA-927B07E5A14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278154681139755E-2"/>
          <c:y val="3.5326086956521736E-2"/>
          <c:w val="0.92808683853459972"/>
          <c:h val="0.92934782608695654"/>
        </c:manualLayout>
      </c:layout>
      <c:doughnutChart>
        <c:varyColors val="0"/>
        <c:ser>
          <c:idx val="0"/>
          <c:order val="0"/>
          <c:dPt>
            <c:idx val="0"/>
            <c:bubble3D val="0"/>
            <c:spPr>
              <a:solidFill>
                <a:schemeClr val="accent5"/>
              </a:solidFill>
              <a:ln w="9525" cap="flat" algn="ctr">
                <a:solidFill>
                  <a:schemeClr val="bg1"/>
                </a:solidFill>
                <a:prstDash val="solid"/>
              </a:ln>
            </c:spPr>
            <c:extLst>
              <c:ext xmlns:c16="http://schemas.microsoft.com/office/drawing/2014/chart" uri="{C3380CC4-5D6E-409C-BE32-E72D297353CC}">
                <c16:uniqueId val="{00000000-266B-463D-8D60-24AAD7E9133F}"/>
              </c:ext>
            </c:extLst>
          </c:dPt>
          <c:dPt>
            <c:idx val="1"/>
            <c:bubble3D val="0"/>
            <c:spPr>
              <a:solidFill>
                <a:schemeClr val="bg2"/>
              </a:solidFill>
              <a:ln w="9525" cap="flat" algn="ctr">
                <a:solidFill>
                  <a:schemeClr val="bg1"/>
                </a:solidFill>
                <a:prstDash val="solid"/>
              </a:ln>
            </c:spPr>
            <c:extLst>
              <c:ext xmlns:c16="http://schemas.microsoft.com/office/drawing/2014/chart" uri="{C3380CC4-5D6E-409C-BE32-E72D297353CC}">
                <c16:uniqueId val="{00000001-266B-463D-8D60-24AAD7E9133F}"/>
              </c:ext>
            </c:extLst>
          </c:dPt>
          <c:dPt>
            <c:idx val="2"/>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2-266B-463D-8D60-24AAD7E9133F}"/>
              </c:ext>
            </c:extLst>
          </c:dPt>
          <c:dLbls>
            <c:dLbl>
              <c:idx val="0"/>
              <c:layout>
                <c:manualLayout>
                  <c:x val="4.2062415196743558E-2"/>
                  <c:y val="-9.5108695652173919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6B-463D-8D60-24AAD7E9133F}"/>
                </c:ext>
              </c:extLst>
            </c:dLbl>
            <c:dLbl>
              <c:idx val="1"/>
              <c:layout>
                <c:manualLayout>
                  <c:x val="-2.2388059701492536E-2"/>
                  <c:y val="3.3967391304347824E-2"/>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6B-463D-8D60-24AAD7E9133F}"/>
                </c:ext>
              </c:extLst>
            </c:dLbl>
            <c:dLbl>
              <c:idx val="2"/>
              <c:layout>
                <c:manualLayout>
                  <c:x val="-2.9172320217096336E-2"/>
                  <c:y val="-2.717391304347826E-2"/>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6B-463D-8D60-24AAD7E913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5.166430706876099</c:v>
                </c:pt>
                <c:pt idx="1">
                  <c:v>26.952806440382027</c:v>
                </c:pt>
                <c:pt idx="2">
                  <c:v>27.880762852741864</c:v>
                </c:pt>
              </c:numCache>
            </c:numRef>
          </c:val>
          <c:extLst>
            <c:ext xmlns:c16="http://schemas.microsoft.com/office/drawing/2014/chart" uri="{C3380CC4-5D6E-409C-BE32-E72D297353CC}">
              <c16:uniqueId val="{00000003-266B-463D-8D60-24AAD7E9133F}"/>
            </c:ext>
          </c:extLst>
        </c:ser>
        <c:dLbls>
          <c:showLegendKey val="0"/>
          <c:showVal val="0"/>
          <c:showCatName val="0"/>
          <c:showSerName val="0"/>
          <c:showPercent val="0"/>
          <c:showBubbleSize val="0"/>
          <c:showLeaderLines val="1"/>
        </c:dLbls>
        <c:firstSliceAng val="0"/>
        <c:holeSize val="51"/>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4.924242424242424E-2"/>
          <c:w val="0.96559708898445251"/>
          <c:h val="0.90151515151515149"/>
        </c:manualLayout>
      </c:layout>
      <c:scatterChart>
        <c:scatterStyle val="lineMarker"/>
        <c:varyColors val="0"/>
        <c:ser>
          <c:idx val="0"/>
          <c:order val="0"/>
          <c:spPr>
            <a:ln w="28575" cap="flat" algn="ctr">
              <a:solidFill>
                <a:schemeClr val="tx2"/>
              </a:solidFill>
              <a:prstDash val="solid"/>
            </a:ln>
          </c:spPr>
          <c:marker>
            <c:symbol val="none"/>
          </c:marker>
          <c:dPt>
            <c:idx val="0"/>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0-99FC-455D-A892-A771AA9FF5A6}"/>
              </c:ext>
            </c:extLst>
          </c:dPt>
          <c:dPt>
            <c:idx val="1"/>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1-99FC-455D-A892-A771AA9FF5A6}"/>
              </c:ext>
            </c:extLst>
          </c:dPt>
          <c:dPt>
            <c:idx val="2"/>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2-99FC-455D-A892-A771AA9FF5A6}"/>
              </c:ext>
            </c:extLst>
          </c:dPt>
          <c:dPt>
            <c:idx val="3"/>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3-99FC-455D-A892-A771AA9FF5A6}"/>
              </c:ext>
            </c:extLst>
          </c:dPt>
          <c:dPt>
            <c:idx val="4"/>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4-99FC-455D-A892-A771AA9FF5A6}"/>
              </c:ext>
            </c:extLst>
          </c:dPt>
          <c:dPt>
            <c:idx val="5"/>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5-99FC-455D-A892-A771AA9FF5A6}"/>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2:$P$2</c:f>
              <c:numCache>
                <c:formatCode>General</c:formatCode>
                <c:ptCount val="16"/>
                <c:pt idx="0">
                  <c:v>11228.647994942348</c:v>
                </c:pt>
                <c:pt idx="1">
                  <c:v>11097.220681108331</c:v>
                </c:pt>
                <c:pt idx="2">
                  <c:v>11383.1376602497</c:v>
                </c:pt>
                <c:pt idx="3">
                  <c:v>11698.064565452216</c:v>
                </c:pt>
                <c:pt idx="4">
                  <c:v>11683.954813503171</c:v>
                </c:pt>
                <c:pt idx="5">
                  <c:v>11636.188465934501</c:v>
                </c:pt>
              </c:numCache>
            </c:numRef>
          </c:yVal>
          <c:smooth val="0"/>
          <c:extLst>
            <c:ext xmlns:c16="http://schemas.microsoft.com/office/drawing/2014/chart" uri="{C3380CC4-5D6E-409C-BE32-E72D297353CC}">
              <c16:uniqueId val="{00000006-99FC-455D-A892-A771AA9FF5A6}"/>
            </c:ext>
          </c:extLst>
        </c:ser>
        <c:ser>
          <c:idx val="1"/>
          <c:order val="1"/>
          <c:spPr>
            <a:ln w="34925" cap="flat" algn="ctr">
              <a:solidFill>
                <a:schemeClr val="accent6"/>
              </a:solidFill>
              <a:prstDash val="solid"/>
            </a:ln>
          </c:spPr>
          <c:marker>
            <c:symbol val="none"/>
          </c:marker>
          <c:dPt>
            <c:idx val="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7-99FC-455D-A892-A771AA9FF5A6}"/>
              </c:ext>
            </c:extLst>
          </c:dPt>
          <c:dPt>
            <c:idx val="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8-99FC-455D-A892-A771AA9FF5A6}"/>
              </c:ext>
            </c:extLst>
          </c:dPt>
          <c:dPt>
            <c:idx val="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9-99FC-455D-A892-A771AA9FF5A6}"/>
              </c:ext>
            </c:extLst>
          </c:dPt>
          <c:dPt>
            <c:idx val="6"/>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A-99FC-455D-A892-A771AA9FF5A6}"/>
              </c:ext>
            </c:extLst>
          </c:dPt>
          <c:dPt>
            <c:idx val="7"/>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B-99FC-455D-A892-A771AA9FF5A6}"/>
              </c:ext>
            </c:extLst>
          </c:dPt>
          <c:dPt>
            <c:idx val="8"/>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C-99FC-455D-A892-A771AA9FF5A6}"/>
              </c:ext>
            </c:extLst>
          </c:dPt>
          <c:dPt>
            <c:idx val="9"/>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D-99FC-455D-A892-A771AA9FF5A6}"/>
              </c:ext>
            </c:extLst>
          </c:dPt>
          <c:dPt>
            <c:idx val="10"/>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E-99FC-455D-A892-A771AA9FF5A6}"/>
              </c:ext>
            </c:extLst>
          </c:dPt>
          <c:dPt>
            <c:idx val="11"/>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F-99FC-455D-A892-A771AA9FF5A6}"/>
              </c:ext>
            </c:extLst>
          </c:dPt>
          <c:dPt>
            <c:idx val="12"/>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0-99FC-455D-A892-A771AA9FF5A6}"/>
              </c:ext>
            </c:extLst>
          </c:dPt>
          <c:dPt>
            <c:idx val="1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1-99FC-455D-A892-A771AA9FF5A6}"/>
              </c:ext>
            </c:extLst>
          </c:dPt>
          <c:dPt>
            <c:idx val="1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2-99FC-455D-A892-A771AA9FF5A6}"/>
              </c:ext>
            </c:extLst>
          </c:dPt>
          <c:dPt>
            <c:idx val="1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3-99FC-455D-A892-A771AA9FF5A6}"/>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3:$P$3</c:f>
              <c:numCache>
                <c:formatCode>General</c:formatCode>
                <c:ptCount val="16"/>
                <c:pt idx="3">
                  <c:v>11698.064565452216</c:v>
                </c:pt>
                <c:pt idx="4">
                  <c:v>11689.051403124658</c:v>
                </c:pt>
                <c:pt idx="5">
                  <c:v>11653.038105953885</c:v>
                </c:pt>
                <c:pt idx="6">
                  <c:v>11663.984638987591</c:v>
                </c:pt>
                <c:pt idx="7">
                  <c:v>11694.791852330463</c:v>
                </c:pt>
                <c:pt idx="8">
                  <c:v>11723.14304279787</c:v>
                </c:pt>
                <c:pt idx="9">
                  <c:v>11749.969810814231</c:v>
                </c:pt>
                <c:pt idx="10">
                  <c:v>11775.753199137447</c:v>
                </c:pt>
                <c:pt idx="11">
                  <c:v>11734.334699029665</c:v>
                </c:pt>
                <c:pt idx="12">
                  <c:v>11694.961256872299</c:v>
                </c:pt>
                <c:pt idx="13">
                  <c:v>11656.079116937517</c:v>
                </c:pt>
                <c:pt idx="14">
                  <c:v>11616.663578619949</c:v>
                </c:pt>
                <c:pt idx="15">
                  <c:v>11579.903973569435</c:v>
                </c:pt>
              </c:numCache>
            </c:numRef>
          </c:yVal>
          <c:smooth val="0"/>
          <c:extLst>
            <c:ext xmlns:c16="http://schemas.microsoft.com/office/drawing/2014/chart" uri="{C3380CC4-5D6E-409C-BE32-E72D297353CC}">
              <c16:uniqueId val="{00000014-99FC-455D-A892-A771AA9FF5A6}"/>
            </c:ext>
          </c:extLst>
        </c:ser>
        <c:ser>
          <c:idx val="2"/>
          <c:order val="2"/>
          <c:spPr>
            <a:ln w="28575" cap="flat" algn="ctr">
              <a:solidFill>
                <a:schemeClr val="accent4"/>
              </a:solidFill>
              <a:prstDash val="solid"/>
            </a:ln>
          </c:spPr>
          <c:marker>
            <c:symbol val="none"/>
          </c:marker>
          <c:dPt>
            <c:idx val="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5-99FC-455D-A892-A771AA9FF5A6}"/>
              </c:ext>
            </c:extLst>
          </c:dPt>
          <c:dPt>
            <c:idx val="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6-99FC-455D-A892-A771AA9FF5A6}"/>
              </c:ext>
            </c:extLst>
          </c:dPt>
          <c:dPt>
            <c:idx val="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7-99FC-455D-A892-A771AA9FF5A6}"/>
              </c:ext>
            </c:extLst>
          </c:dPt>
          <c:dPt>
            <c:idx val="6"/>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8-99FC-455D-A892-A771AA9FF5A6}"/>
              </c:ext>
            </c:extLst>
          </c:dPt>
          <c:dPt>
            <c:idx val="7"/>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9-99FC-455D-A892-A771AA9FF5A6}"/>
              </c:ext>
            </c:extLst>
          </c:dPt>
          <c:dPt>
            <c:idx val="8"/>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A-99FC-455D-A892-A771AA9FF5A6}"/>
              </c:ext>
            </c:extLst>
          </c:dPt>
          <c:dPt>
            <c:idx val="9"/>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B-99FC-455D-A892-A771AA9FF5A6}"/>
              </c:ext>
            </c:extLst>
          </c:dPt>
          <c:dPt>
            <c:idx val="10"/>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C-99FC-455D-A892-A771AA9FF5A6}"/>
              </c:ext>
            </c:extLst>
          </c:dPt>
          <c:dPt>
            <c:idx val="11"/>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D-99FC-455D-A892-A771AA9FF5A6}"/>
              </c:ext>
            </c:extLst>
          </c:dPt>
          <c:dPt>
            <c:idx val="12"/>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E-99FC-455D-A892-A771AA9FF5A6}"/>
              </c:ext>
            </c:extLst>
          </c:dPt>
          <c:dPt>
            <c:idx val="1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F-99FC-455D-A892-A771AA9FF5A6}"/>
              </c:ext>
            </c:extLst>
          </c:dPt>
          <c:dPt>
            <c:idx val="1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20-99FC-455D-A892-A771AA9FF5A6}"/>
              </c:ext>
            </c:extLst>
          </c:dPt>
          <c:dPt>
            <c:idx val="1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21-99FC-455D-A892-A771AA9FF5A6}"/>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4:$P$4</c:f>
              <c:numCache>
                <c:formatCode>General</c:formatCode>
                <c:ptCount val="16"/>
                <c:pt idx="3">
                  <c:v>11698.064565452216</c:v>
                </c:pt>
                <c:pt idx="4">
                  <c:v>11683.954813503171</c:v>
                </c:pt>
                <c:pt idx="5">
                  <c:v>11636.188465934501</c:v>
                </c:pt>
                <c:pt idx="6">
                  <c:v>11636.921062774865</c:v>
                </c:pt>
                <c:pt idx="7">
                  <c:v>11655.813167189755</c:v>
                </c:pt>
                <c:pt idx="8">
                  <c:v>11671.311989327696</c:v>
                </c:pt>
                <c:pt idx="9">
                  <c:v>11684.501699432822</c:v>
                </c:pt>
                <c:pt idx="10">
                  <c:v>11695.759825941579</c:v>
                </c:pt>
                <c:pt idx="11">
                  <c:v>11636.477792463895</c:v>
                </c:pt>
                <c:pt idx="12">
                  <c:v>11578.128462591147</c:v>
                </c:pt>
                <c:pt idx="13">
                  <c:v>11519.046127000938</c:v>
                </c:pt>
                <c:pt idx="14">
                  <c:v>11445.698499393551</c:v>
                </c:pt>
                <c:pt idx="15">
                  <c:v>11386.401861324179</c:v>
                </c:pt>
              </c:numCache>
            </c:numRef>
          </c:yVal>
          <c:smooth val="0"/>
          <c:extLst>
            <c:ext xmlns:c16="http://schemas.microsoft.com/office/drawing/2014/chart" uri="{C3380CC4-5D6E-409C-BE32-E72D297353CC}">
              <c16:uniqueId val="{00000022-99FC-455D-A892-A771AA9FF5A6}"/>
            </c:ext>
          </c:extLst>
        </c:ser>
        <c:ser>
          <c:idx val="3"/>
          <c:order val="3"/>
          <c:spPr>
            <a:ln w="34925" cap="flat" algn="ctr">
              <a:solidFill>
                <a:schemeClr val="bg2"/>
              </a:solidFill>
              <a:prstDash val="solid"/>
            </a:ln>
          </c:spPr>
          <c:marker>
            <c:symbol val="none"/>
          </c:marker>
          <c:dPt>
            <c:idx val="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3-99FC-455D-A892-A771AA9FF5A6}"/>
              </c:ext>
            </c:extLst>
          </c:dPt>
          <c:dPt>
            <c:idx val="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4-99FC-455D-A892-A771AA9FF5A6}"/>
              </c:ext>
            </c:extLst>
          </c:dPt>
          <c:dPt>
            <c:idx val="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5-99FC-455D-A892-A771AA9FF5A6}"/>
              </c:ext>
            </c:extLst>
          </c:dPt>
          <c:dPt>
            <c:idx val="6"/>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6-99FC-455D-A892-A771AA9FF5A6}"/>
              </c:ext>
            </c:extLst>
          </c:dPt>
          <c:dPt>
            <c:idx val="7"/>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7-99FC-455D-A892-A771AA9FF5A6}"/>
              </c:ext>
            </c:extLst>
          </c:dPt>
          <c:dPt>
            <c:idx val="8"/>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8-99FC-455D-A892-A771AA9FF5A6}"/>
              </c:ext>
            </c:extLst>
          </c:dPt>
          <c:dPt>
            <c:idx val="9"/>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9-99FC-455D-A892-A771AA9FF5A6}"/>
              </c:ext>
            </c:extLst>
          </c:dPt>
          <c:dPt>
            <c:idx val="10"/>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A-99FC-455D-A892-A771AA9FF5A6}"/>
              </c:ext>
            </c:extLst>
          </c:dPt>
          <c:dPt>
            <c:idx val="11"/>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B-99FC-455D-A892-A771AA9FF5A6}"/>
              </c:ext>
            </c:extLst>
          </c:dPt>
          <c:dPt>
            <c:idx val="12"/>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C-99FC-455D-A892-A771AA9FF5A6}"/>
              </c:ext>
            </c:extLst>
          </c:dPt>
          <c:dPt>
            <c:idx val="1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D-99FC-455D-A892-A771AA9FF5A6}"/>
              </c:ext>
            </c:extLst>
          </c:dPt>
          <c:dPt>
            <c:idx val="1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E-99FC-455D-A892-A771AA9FF5A6}"/>
              </c:ext>
            </c:extLst>
          </c:dPt>
          <c:dPt>
            <c:idx val="1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F-99FC-455D-A892-A771AA9FF5A6}"/>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5:$P$5</c:f>
              <c:numCache>
                <c:formatCode>General</c:formatCode>
                <c:ptCount val="16"/>
                <c:pt idx="3">
                  <c:v>11698.064565452216</c:v>
                </c:pt>
                <c:pt idx="4">
                  <c:v>11578.297080084581</c:v>
                </c:pt>
                <c:pt idx="5">
                  <c:v>11423.31492051814</c:v>
                </c:pt>
                <c:pt idx="6">
                  <c:v>11314.156244950062</c:v>
                </c:pt>
                <c:pt idx="7">
                  <c:v>11221.561328292562</c:v>
                </c:pt>
                <c:pt idx="8">
                  <c:v>11124.872237154987</c:v>
                </c:pt>
                <c:pt idx="9">
                  <c:v>11025.169757326983</c:v>
                </c:pt>
                <c:pt idx="10">
                  <c:v>10922.723073150066</c:v>
                </c:pt>
                <c:pt idx="11">
                  <c:v>10685.503110741811</c:v>
                </c:pt>
                <c:pt idx="12">
                  <c:v>10448.19183024123</c:v>
                </c:pt>
                <c:pt idx="13">
                  <c:v>10209.246608982046</c:v>
                </c:pt>
                <c:pt idx="14">
                  <c:v>9953.4874611013565</c:v>
                </c:pt>
                <c:pt idx="15">
                  <c:v>9711.8206035122857</c:v>
                </c:pt>
              </c:numCache>
            </c:numRef>
          </c:yVal>
          <c:smooth val="0"/>
          <c:extLst>
            <c:ext xmlns:c16="http://schemas.microsoft.com/office/drawing/2014/chart" uri="{C3380CC4-5D6E-409C-BE32-E72D297353CC}">
              <c16:uniqueId val="{00000030-99FC-455D-A892-A771AA9FF5A6}"/>
            </c:ext>
          </c:extLst>
        </c:ser>
        <c:dLbls>
          <c:showLegendKey val="0"/>
          <c:showVal val="0"/>
          <c:showCatName val="0"/>
          <c:showSerName val="0"/>
          <c:showPercent val="0"/>
          <c:showBubbleSize val="0"/>
        </c:dLbls>
        <c:axId val="1554302543"/>
        <c:axId val="1"/>
      </c:scatterChart>
      <c:valAx>
        <c:axId val="1554302543"/>
        <c:scaling>
          <c:orientation val="minMax"/>
          <c:max val="2030"/>
          <c:min val="2015"/>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5"/>
      </c:valAx>
      <c:valAx>
        <c:axId val="1"/>
        <c:scaling>
          <c:orientation val="minMax"/>
          <c:max val="12000"/>
          <c:min val="900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554302543"/>
        <c:crosses val="min"/>
        <c:crossBetween val="midCat"/>
        <c:majorUnit val="5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07411835026898"/>
          <c:y val="6.9153776160145591E-2"/>
          <c:w val="0.87238493723849375"/>
          <c:h val="0.86078252957233847"/>
        </c:manualLayout>
      </c:layout>
      <c:scatterChart>
        <c:scatterStyle val="lineMarker"/>
        <c:varyColors val="0"/>
        <c:ser>
          <c:idx val="0"/>
          <c:order val="0"/>
          <c:spPr>
            <a:ln w="28575" cap="flat" algn="ctr">
              <a:solidFill>
                <a:schemeClr val="tx2"/>
              </a:solidFill>
              <a:prstDash val="solid"/>
            </a:ln>
          </c:spPr>
          <c:marker>
            <c:symbol val="none"/>
          </c:marker>
          <c:dPt>
            <c:idx val="0"/>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0-B27A-47F0-8EFF-14E437293C9D}"/>
              </c:ext>
            </c:extLst>
          </c:dPt>
          <c:dPt>
            <c:idx val="1"/>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1-B27A-47F0-8EFF-14E437293C9D}"/>
              </c:ext>
            </c:extLst>
          </c:dPt>
          <c:dPt>
            <c:idx val="2"/>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2-B27A-47F0-8EFF-14E437293C9D}"/>
              </c:ext>
            </c:extLst>
          </c:dPt>
          <c:dPt>
            <c:idx val="3"/>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3-B27A-47F0-8EFF-14E437293C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2:$P$2</c:f>
              <c:numCache>
                <c:formatCode>General</c:formatCode>
                <c:ptCount val="16"/>
                <c:pt idx="0">
                  <c:v>754.45125310000003</c:v>
                </c:pt>
                <c:pt idx="1">
                  <c:v>805.77868920000003</c:v>
                </c:pt>
                <c:pt idx="2">
                  <c:v>839.24353180000003</c:v>
                </c:pt>
                <c:pt idx="3">
                  <c:v>897.07582379999997</c:v>
                </c:pt>
              </c:numCache>
            </c:numRef>
          </c:yVal>
          <c:smooth val="0"/>
          <c:extLst>
            <c:ext xmlns:c16="http://schemas.microsoft.com/office/drawing/2014/chart" uri="{C3380CC4-5D6E-409C-BE32-E72D297353CC}">
              <c16:uniqueId val="{00000004-B27A-47F0-8EFF-14E437293C9D}"/>
            </c:ext>
          </c:extLst>
        </c:ser>
        <c:ser>
          <c:idx val="1"/>
          <c:order val="1"/>
          <c:spPr>
            <a:ln w="34925" cap="flat" algn="ctr">
              <a:solidFill>
                <a:schemeClr val="accent6"/>
              </a:solidFill>
              <a:prstDash val="solid"/>
            </a:ln>
          </c:spPr>
          <c:marker>
            <c:symbol val="none"/>
          </c:marker>
          <c:dPt>
            <c:idx val="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5-B27A-47F0-8EFF-14E437293C9D}"/>
              </c:ext>
            </c:extLst>
          </c:dPt>
          <c:dPt>
            <c:idx val="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6-B27A-47F0-8EFF-14E437293C9D}"/>
              </c:ext>
            </c:extLst>
          </c:dPt>
          <c:dPt>
            <c:idx val="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7-B27A-47F0-8EFF-14E437293C9D}"/>
              </c:ext>
            </c:extLst>
          </c:dPt>
          <c:dPt>
            <c:idx val="6"/>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8-B27A-47F0-8EFF-14E437293C9D}"/>
              </c:ext>
            </c:extLst>
          </c:dPt>
          <c:dPt>
            <c:idx val="7"/>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9-B27A-47F0-8EFF-14E437293C9D}"/>
              </c:ext>
            </c:extLst>
          </c:dPt>
          <c:dPt>
            <c:idx val="8"/>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A-B27A-47F0-8EFF-14E437293C9D}"/>
              </c:ext>
            </c:extLst>
          </c:dPt>
          <c:dPt>
            <c:idx val="9"/>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B-B27A-47F0-8EFF-14E437293C9D}"/>
              </c:ext>
            </c:extLst>
          </c:dPt>
          <c:dPt>
            <c:idx val="10"/>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C-B27A-47F0-8EFF-14E437293C9D}"/>
              </c:ext>
            </c:extLst>
          </c:dPt>
          <c:dPt>
            <c:idx val="11"/>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D-B27A-47F0-8EFF-14E437293C9D}"/>
              </c:ext>
            </c:extLst>
          </c:dPt>
          <c:dPt>
            <c:idx val="12"/>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E-B27A-47F0-8EFF-14E437293C9D}"/>
              </c:ext>
            </c:extLst>
          </c:dPt>
          <c:dPt>
            <c:idx val="1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F-B27A-47F0-8EFF-14E437293C9D}"/>
              </c:ext>
            </c:extLst>
          </c:dPt>
          <c:dPt>
            <c:idx val="1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0-B27A-47F0-8EFF-14E437293C9D}"/>
              </c:ext>
            </c:extLst>
          </c:dPt>
          <c:dPt>
            <c:idx val="1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1-B27A-47F0-8EFF-14E437293C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3:$P$3</c:f>
              <c:numCache>
                <c:formatCode>General</c:formatCode>
                <c:ptCount val="16"/>
                <c:pt idx="3">
                  <c:v>897.07582375254356</c:v>
                </c:pt>
                <c:pt idx="4">
                  <c:v>890.4224495674365</c:v>
                </c:pt>
                <c:pt idx="5">
                  <c:v>856.76894053911235</c:v>
                </c:pt>
                <c:pt idx="6">
                  <c:v>870.07526171526592</c:v>
                </c:pt>
                <c:pt idx="7">
                  <c:v>903.24226320058824</c:v>
                </c:pt>
                <c:pt idx="8">
                  <c:v>933.95324181044487</c:v>
                </c:pt>
                <c:pt idx="9">
                  <c:v>963.13979796925287</c:v>
                </c:pt>
                <c:pt idx="10">
                  <c:v>991.28297443491988</c:v>
                </c:pt>
                <c:pt idx="11">
                  <c:v>1021.8807800798839</c:v>
                </c:pt>
                <c:pt idx="12">
                  <c:v>1054.5236436752596</c:v>
                </c:pt>
                <c:pt idx="13">
                  <c:v>1087.6578094932242</c:v>
                </c:pt>
                <c:pt idx="14">
                  <c:v>1120.2585769283978</c:v>
                </c:pt>
                <c:pt idx="15">
                  <c:v>1155.5152776306286</c:v>
                </c:pt>
              </c:numCache>
            </c:numRef>
          </c:yVal>
          <c:smooth val="0"/>
          <c:extLst>
            <c:ext xmlns:c16="http://schemas.microsoft.com/office/drawing/2014/chart" uri="{C3380CC4-5D6E-409C-BE32-E72D297353CC}">
              <c16:uniqueId val="{00000012-B27A-47F0-8EFF-14E437293C9D}"/>
            </c:ext>
          </c:extLst>
        </c:ser>
        <c:ser>
          <c:idx val="2"/>
          <c:order val="2"/>
          <c:spPr>
            <a:ln w="28575" cap="flat" algn="ctr">
              <a:solidFill>
                <a:schemeClr val="accent4"/>
              </a:solidFill>
              <a:prstDash val="solid"/>
            </a:ln>
          </c:spPr>
          <c:marker>
            <c:symbol val="none"/>
          </c:marker>
          <c:dPt>
            <c:idx val="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3-B27A-47F0-8EFF-14E437293C9D}"/>
              </c:ext>
            </c:extLst>
          </c:dPt>
          <c:dPt>
            <c:idx val="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4-B27A-47F0-8EFF-14E437293C9D}"/>
              </c:ext>
            </c:extLst>
          </c:dPt>
          <c:dPt>
            <c:idx val="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5-B27A-47F0-8EFF-14E437293C9D}"/>
              </c:ext>
            </c:extLst>
          </c:dPt>
          <c:dPt>
            <c:idx val="6"/>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6-B27A-47F0-8EFF-14E437293C9D}"/>
              </c:ext>
            </c:extLst>
          </c:dPt>
          <c:dPt>
            <c:idx val="7"/>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7-B27A-47F0-8EFF-14E437293C9D}"/>
              </c:ext>
            </c:extLst>
          </c:dPt>
          <c:dPt>
            <c:idx val="8"/>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8-B27A-47F0-8EFF-14E437293C9D}"/>
              </c:ext>
            </c:extLst>
          </c:dPt>
          <c:dPt>
            <c:idx val="9"/>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9-B27A-47F0-8EFF-14E437293C9D}"/>
              </c:ext>
            </c:extLst>
          </c:dPt>
          <c:dPt>
            <c:idx val="10"/>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A-B27A-47F0-8EFF-14E437293C9D}"/>
              </c:ext>
            </c:extLst>
          </c:dPt>
          <c:dPt>
            <c:idx val="11"/>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B-B27A-47F0-8EFF-14E437293C9D}"/>
              </c:ext>
            </c:extLst>
          </c:dPt>
          <c:dPt>
            <c:idx val="12"/>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C-B27A-47F0-8EFF-14E437293C9D}"/>
              </c:ext>
            </c:extLst>
          </c:dPt>
          <c:dPt>
            <c:idx val="1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D-B27A-47F0-8EFF-14E437293C9D}"/>
              </c:ext>
            </c:extLst>
          </c:dPt>
          <c:dPt>
            <c:idx val="1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E-B27A-47F0-8EFF-14E437293C9D}"/>
              </c:ext>
            </c:extLst>
          </c:dPt>
          <c:dPt>
            <c:idx val="1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F-B27A-47F0-8EFF-14E437293C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4:$P$4</c:f>
              <c:numCache>
                <c:formatCode>General</c:formatCode>
                <c:ptCount val="16"/>
                <c:pt idx="3">
                  <c:v>897.07582375254356</c:v>
                </c:pt>
                <c:pt idx="4">
                  <c:v>883.12604118568424</c:v>
                </c:pt>
                <c:pt idx="5">
                  <c:v>835.51966299919764</c:v>
                </c:pt>
                <c:pt idx="6">
                  <c:v>836.41222922174552</c:v>
                </c:pt>
                <c:pt idx="7">
                  <c:v>855.46430301881878</c:v>
                </c:pt>
                <c:pt idx="8">
                  <c:v>871.12309453894534</c:v>
                </c:pt>
                <c:pt idx="9">
                  <c:v>884.47277402625309</c:v>
                </c:pt>
                <c:pt idx="10">
                  <c:v>895.89086991719705</c:v>
                </c:pt>
                <c:pt idx="11">
                  <c:v>908.78890412722706</c:v>
                </c:pt>
                <c:pt idx="12">
                  <c:v>922.61964194219445</c:v>
                </c:pt>
                <c:pt idx="13">
                  <c:v>935.71737403970258</c:v>
                </c:pt>
                <c:pt idx="14">
                  <c:v>934.54981412002758</c:v>
                </c:pt>
                <c:pt idx="15">
                  <c:v>947.43324373837152</c:v>
                </c:pt>
              </c:numCache>
            </c:numRef>
          </c:yVal>
          <c:smooth val="0"/>
          <c:extLst>
            <c:ext xmlns:c16="http://schemas.microsoft.com/office/drawing/2014/chart" uri="{C3380CC4-5D6E-409C-BE32-E72D297353CC}">
              <c16:uniqueId val="{00000020-B27A-47F0-8EFF-14E437293C9D}"/>
            </c:ext>
          </c:extLst>
        </c:ser>
        <c:ser>
          <c:idx val="3"/>
          <c:order val="3"/>
          <c:spPr>
            <a:ln w="34925" cap="flat" algn="ctr">
              <a:solidFill>
                <a:schemeClr val="bg2"/>
              </a:solidFill>
              <a:prstDash val="solid"/>
            </a:ln>
          </c:spPr>
          <c:marker>
            <c:symbol val="none"/>
          </c:marker>
          <c:dPt>
            <c:idx val="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1-B27A-47F0-8EFF-14E437293C9D}"/>
              </c:ext>
            </c:extLst>
          </c:dPt>
          <c:dPt>
            <c:idx val="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2-B27A-47F0-8EFF-14E437293C9D}"/>
              </c:ext>
            </c:extLst>
          </c:dPt>
          <c:dPt>
            <c:idx val="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3-B27A-47F0-8EFF-14E437293C9D}"/>
              </c:ext>
            </c:extLst>
          </c:dPt>
          <c:dPt>
            <c:idx val="6"/>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4-B27A-47F0-8EFF-14E437293C9D}"/>
              </c:ext>
            </c:extLst>
          </c:dPt>
          <c:dPt>
            <c:idx val="7"/>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5-B27A-47F0-8EFF-14E437293C9D}"/>
              </c:ext>
            </c:extLst>
          </c:dPt>
          <c:dPt>
            <c:idx val="8"/>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6-B27A-47F0-8EFF-14E437293C9D}"/>
              </c:ext>
            </c:extLst>
          </c:dPt>
          <c:dPt>
            <c:idx val="9"/>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7-B27A-47F0-8EFF-14E437293C9D}"/>
              </c:ext>
            </c:extLst>
          </c:dPt>
          <c:dPt>
            <c:idx val="10"/>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8-B27A-47F0-8EFF-14E437293C9D}"/>
              </c:ext>
            </c:extLst>
          </c:dPt>
          <c:dPt>
            <c:idx val="11"/>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9-B27A-47F0-8EFF-14E437293C9D}"/>
              </c:ext>
            </c:extLst>
          </c:dPt>
          <c:dPt>
            <c:idx val="12"/>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A-B27A-47F0-8EFF-14E437293C9D}"/>
              </c:ext>
            </c:extLst>
          </c:dPt>
          <c:dPt>
            <c:idx val="1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B-B27A-47F0-8EFF-14E437293C9D}"/>
              </c:ext>
            </c:extLst>
          </c:dPt>
          <c:dPt>
            <c:idx val="1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C-B27A-47F0-8EFF-14E437293C9D}"/>
              </c:ext>
            </c:extLst>
          </c:dPt>
          <c:dPt>
            <c:idx val="1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D-B27A-47F0-8EFF-14E437293C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5:$P$5</c:f>
              <c:numCache>
                <c:formatCode>General</c:formatCode>
                <c:ptCount val="16"/>
                <c:pt idx="3">
                  <c:v>897.07582375254356</c:v>
                </c:pt>
                <c:pt idx="4">
                  <c:v>879.01127588785369</c:v>
                </c:pt>
                <c:pt idx="5">
                  <c:v>825.73205382435719</c:v>
                </c:pt>
                <c:pt idx="6">
                  <c:v>818.2763157592243</c:v>
                </c:pt>
                <c:pt idx="7">
                  <c:v>827.38433660467388</c:v>
                </c:pt>
                <c:pt idx="8">
                  <c:v>832.39818297004194</c:v>
                </c:pt>
                <c:pt idx="9">
                  <c:v>834.39864064498465</c:v>
                </c:pt>
                <c:pt idx="10">
                  <c:v>833.65489397101248</c:v>
                </c:pt>
                <c:pt idx="11">
                  <c:v>833.24265288946867</c:v>
                </c:pt>
                <c:pt idx="12">
                  <c:v>832.73909371560285</c:v>
                </c:pt>
                <c:pt idx="13">
                  <c:v>830.60159378313142</c:v>
                </c:pt>
                <c:pt idx="14">
                  <c:v>811.65016722915516</c:v>
                </c:pt>
                <c:pt idx="15">
                  <c:v>806.79103096679671</c:v>
                </c:pt>
              </c:numCache>
            </c:numRef>
          </c:yVal>
          <c:smooth val="0"/>
          <c:extLst>
            <c:ext xmlns:c16="http://schemas.microsoft.com/office/drawing/2014/chart" uri="{C3380CC4-5D6E-409C-BE32-E72D297353CC}">
              <c16:uniqueId val="{0000002E-B27A-47F0-8EFF-14E437293C9D}"/>
            </c:ext>
          </c:extLst>
        </c:ser>
        <c:dLbls>
          <c:showLegendKey val="0"/>
          <c:showVal val="0"/>
          <c:showCatName val="0"/>
          <c:showSerName val="0"/>
          <c:showPercent val="0"/>
          <c:showBubbleSize val="0"/>
        </c:dLbls>
        <c:axId val="1554315855"/>
        <c:axId val="1"/>
      </c:scatterChart>
      <c:valAx>
        <c:axId val="1554315855"/>
        <c:scaling>
          <c:orientation val="minMax"/>
          <c:max val="2030"/>
          <c:min val="2015"/>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5"/>
      </c:valAx>
      <c:valAx>
        <c:axId val="1"/>
        <c:scaling>
          <c:orientation val="minMax"/>
          <c:max val="1200"/>
          <c:min val="70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300" kern="1200">
                <a:solidFill>
                  <a:schemeClr val="tx1"/>
                </a:solidFill>
                <a:latin typeface="+mn-lt"/>
                <a:ea typeface="+mn-ea"/>
                <a:cs typeface="+mn-cs"/>
                <a:sym typeface="+mn-lt"/>
              </a:defRPr>
            </a:pPr>
            <a:endParaRPr lang="en-US"/>
          </a:p>
        </c:txPr>
        <c:crossAx val="1554315855"/>
        <c:crosses val="min"/>
        <c:crossBetween val="midCat"/>
        <c:majorUnit val="1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9525" y="0"/>
            <a:ext cx="2922588" cy="495300"/>
          </a:xfrm>
          <a:prstGeom prst="rect">
            <a:avLst/>
          </a:prstGeom>
        </p:spPr>
        <p:txBody>
          <a:bodyPr vert="horz" lIns="91440" tIns="45720" rIns="91440" bIns="45720" rtlCol="0"/>
          <a:lstStyle>
            <a:lvl1pPr algn="r">
              <a:defRPr sz="1200"/>
            </a:lvl1pPr>
          </a:lstStyle>
          <a:p>
            <a:fld id="{B1F6FCDC-B0B8-4243-8340-DCE9AB0F745C}" type="datetimeFigureOut">
              <a:rPr lang="en-US" smtClean="0"/>
              <a:t>4/14/2022</a:t>
            </a:fld>
            <a:endParaRPr lang="en-US"/>
          </a:p>
        </p:txBody>
      </p:sp>
      <p:sp>
        <p:nvSpPr>
          <p:cNvPr id="4" name="Footer Placeholder 3"/>
          <p:cNvSpPr>
            <a:spLocks noGrp="1"/>
          </p:cNvSpPr>
          <p:nvPr>
            <p:ph type="ftr" sz="quarter" idx="2"/>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9525" y="9396413"/>
            <a:ext cx="2922588" cy="495300"/>
          </a:xfrm>
          <a:prstGeom prst="rect">
            <a:avLst/>
          </a:prstGeom>
        </p:spPr>
        <p:txBody>
          <a:bodyPr vert="horz" lIns="91440" tIns="45720" rIns="91440" bIns="45720" rtlCol="0" anchor="b"/>
          <a:lstStyle>
            <a:lvl1pPr algn="r">
              <a:defRPr sz="1200"/>
            </a:lvl1pPr>
          </a:lstStyle>
          <a:p>
            <a:fld id="{BBC2DC86-18DF-44F7-B539-BDC8A3E3733B}" type="slidenum">
              <a:rPr lang="en-US" smtClean="0"/>
              <a:t>‹#›</a:t>
            </a:fld>
            <a:endParaRPr lang="en-US"/>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9525" y="0"/>
            <a:ext cx="2922588" cy="495300"/>
          </a:xfrm>
          <a:prstGeom prst="rect">
            <a:avLst/>
          </a:prstGeom>
        </p:spPr>
        <p:txBody>
          <a:bodyPr vert="horz" lIns="91440" tIns="45720" rIns="91440" bIns="45720" rtlCol="0"/>
          <a:lstStyle>
            <a:lvl1pPr algn="r">
              <a:defRPr sz="1200"/>
            </a:lvl1pPr>
          </a:lstStyle>
          <a:p>
            <a:fld id="{E42947B8-7CC5-4187-BAF9-BBF24F5A16EC}" type="datetimeFigureOut">
              <a:rPr lang="en-US" smtClean="0"/>
              <a:t>4/14/2022</a:t>
            </a:fld>
            <a:endParaRPr lang="en-US"/>
          </a:p>
        </p:txBody>
      </p:sp>
      <p:sp>
        <p:nvSpPr>
          <p:cNvPr id="4" name="Slide Image Placeholder 3"/>
          <p:cNvSpPr>
            <a:spLocks noGrp="1" noRot="1" noChangeAspect="1"/>
          </p:cNvSpPr>
          <p:nvPr>
            <p:ph type="sldImg" idx="2"/>
          </p:nvPr>
        </p:nvSpPr>
        <p:spPr>
          <a:xfrm>
            <a:off x="960438" y="1236663"/>
            <a:ext cx="4822825" cy="33385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4688" y="4760913"/>
            <a:ext cx="5394325" cy="38957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98000"/>
            <a:ext cx="2922588"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9525" y="9398000"/>
            <a:ext cx="2922588" cy="495300"/>
          </a:xfrm>
          <a:prstGeom prst="rect">
            <a:avLst/>
          </a:prstGeom>
        </p:spPr>
        <p:txBody>
          <a:bodyPr vert="horz" lIns="91440" tIns="45720" rIns="91440" bIns="45720" rtlCol="0" anchor="b"/>
          <a:lstStyle>
            <a:lvl1pPr algn="r">
              <a:defRPr sz="1200"/>
            </a:lvl1pPr>
          </a:lstStyle>
          <a:p>
            <a:fld id="{54F6BC5D-6B83-4E05-8F1E-D75E96FF3FA9}" type="slidenum">
              <a:rPr lang="en-US" smtClean="0"/>
              <a:t>‹#›</a:t>
            </a:fld>
            <a:endParaRPr lang="en-US"/>
          </a:p>
        </p:txBody>
      </p:sp>
    </p:spTree>
    <p:extLst>
      <p:ext uri="{BB962C8B-B14F-4D97-AF65-F5344CB8AC3E}">
        <p14:creationId xmlns:p14="http://schemas.microsoft.com/office/powerpoint/2010/main" val="3527651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a:p>
        </p:txBody>
      </p:sp>
      <p:sp>
        <p:nvSpPr>
          <p:cNvPr id="4" name="Slide Number Placeholder 3"/>
          <p:cNvSpPr>
            <a:spLocks noGrp="1"/>
          </p:cNvSpPr>
          <p:nvPr>
            <p:ph type="sldNum" sz="quarter" idx="5"/>
          </p:nvPr>
        </p:nvSpPr>
        <p:spPr/>
        <p:txBody>
          <a:bodyPr/>
          <a:lstStyle/>
          <a:p>
            <a:fld id="{54F6BC5D-6B83-4E05-8F1E-D75E96FF3FA9}" type="slidenum">
              <a:rPr lang="en-US" smtClean="0"/>
              <a:t>1</a:t>
            </a:fld>
            <a:endParaRPr lang="en-US"/>
          </a:p>
        </p:txBody>
      </p:sp>
    </p:spTree>
    <p:extLst>
      <p:ext uri="{BB962C8B-B14F-4D97-AF65-F5344CB8AC3E}">
        <p14:creationId xmlns:p14="http://schemas.microsoft.com/office/powerpoint/2010/main" val="3447787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21AA54-DE0C-4A37-801B-D20AD7C29780}" type="slidenum">
              <a:rPr lang="en-US" smtClean="0"/>
              <a:t>2</a:t>
            </a:fld>
            <a:endParaRPr lang="en-US"/>
          </a:p>
        </p:txBody>
      </p:sp>
    </p:spTree>
    <p:extLst>
      <p:ext uri="{BB962C8B-B14F-4D97-AF65-F5344CB8AC3E}">
        <p14:creationId xmlns:p14="http://schemas.microsoft.com/office/powerpoint/2010/main" val="447648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1EF4ED17-CD42-4209-8C11-6681A8B99815}" type="slidenum">
              <a:rPr lang="en-US" smtClean="0"/>
              <a:pPr/>
              <a:t>3</a:t>
            </a:fld>
            <a:endParaRPr lang="en-US"/>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p:spPr>
        <p:txBody>
          <a:bodyPr/>
          <a:lstStyle/>
          <a:p>
            <a:pPr hangingPunct="1"/>
            <a:endParaRPr lang="en-US"/>
          </a:p>
        </p:txBody>
      </p:sp>
    </p:spTree>
    <p:extLst>
      <p:ext uri="{BB962C8B-B14F-4D97-AF65-F5344CB8AC3E}">
        <p14:creationId xmlns:p14="http://schemas.microsoft.com/office/powerpoint/2010/main" val="768504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A774F7E-FC24-42BD-9503-CF8489EB0F62}" type="slidenum">
              <a:rPr lang="en-GB" smtClean="0"/>
              <a:t>4</a:t>
            </a:fld>
            <a:endParaRPr lang="en-GB"/>
          </a:p>
        </p:txBody>
      </p:sp>
    </p:spTree>
    <p:extLst>
      <p:ext uri="{BB962C8B-B14F-4D97-AF65-F5344CB8AC3E}">
        <p14:creationId xmlns:p14="http://schemas.microsoft.com/office/powerpoint/2010/main" val="4159153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1EF4ED17-CD42-4209-8C11-6681A8B99815}" type="slidenum">
              <a:rPr lang="en-US" smtClean="0"/>
              <a:pPr/>
              <a:t>8</a:t>
            </a:fld>
            <a:endParaRPr lang="en-US"/>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p:spPr>
        <p:txBody>
          <a:bodyPr/>
          <a:lstStyle/>
          <a:p>
            <a:pPr hangingPunct="1"/>
            <a:endParaRPr lang="en-US"/>
          </a:p>
        </p:txBody>
      </p:sp>
    </p:spTree>
    <p:extLst>
      <p:ext uri="{BB962C8B-B14F-4D97-AF65-F5344CB8AC3E}">
        <p14:creationId xmlns:p14="http://schemas.microsoft.com/office/powerpoint/2010/main" val="1127680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82FF4D3-F2D2-4234-BF40-A9E55272A4CC}" type="slidenum">
              <a:rPr lang="en-US" smtClean="0"/>
              <a:t>9</a:t>
            </a:fld>
            <a:endParaRPr lang="en-US"/>
          </a:p>
        </p:txBody>
      </p:sp>
    </p:spTree>
    <p:extLst>
      <p:ext uri="{BB962C8B-B14F-4D97-AF65-F5344CB8AC3E}">
        <p14:creationId xmlns:p14="http://schemas.microsoft.com/office/powerpoint/2010/main" val="2861829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ED68CF-7E98-46CA-BE69-02B45AFA8C14}" type="slidenum">
              <a:rPr lang="en-US" smtClean="0"/>
              <a:t>12</a:t>
            </a:fld>
            <a:endParaRPr lang="en-US"/>
          </a:p>
        </p:txBody>
      </p:sp>
    </p:spTree>
    <p:extLst>
      <p:ext uri="{BB962C8B-B14F-4D97-AF65-F5344CB8AC3E}">
        <p14:creationId xmlns:p14="http://schemas.microsoft.com/office/powerpoint/2010/main" val="1920502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image" Target="../media/image8.png"/><Relationship Id="rId5" Type="http://schemas.openxmlformats.org/officeDocument/2006/relationships/tags" Target="../tags/tag24.xml"/><Relationship Id="rId10" Type="http://schemas.openxmlformats.org/officeDocument/2006/relationships/image" Target="../media/image7.emf"/><Relationship Id="rId4" Type="http://schemas.openxmlformats.org/officeDocument/2006/relationships/tags" Target="../tags/tag23.xml"/><Relationship Id="rId9"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a:t>Click to edit Master title style</a:t>
            </a:r>
          </a:p>
        </p:txBody>
      </p:sp>
      <p:pic>
        <p:nvPicPr>
          <p:cNvPr id="5" name="Bild 2"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Tree>
    <p:extLst>
      <p:ext uri="{BB962C8B-B14F-4D97-AF65-F5344CB8AC3E}">
        <p14:creationId xmlns:p14="http://schemas.microsoft.com/office/powerpoint/2010/main" val="78042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a:t>Click to edit Master title style</a:t>
            </a:r>
          </a:p>
        </p:txBody>
      </p:sp>
      <p:pic>
        <p:nvPicPr>
          <p:cNvPr id="6" name="Bild 2" hidden="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baseline="0">
                <a:latin typeface="+mn-lt"/>
                <a:sym typeface="+mn-lt"/>
              </a:defRPr>
            </a:lvl1pPr>
          </a:lstStyle>
          <a:p>
            <a:pPr lvl="0"/>
            <a:r>
              <a:rPr lang="en-US"/>
              <a:t>Client logo/name</a:t>
            </a:r>
          </a:p>
        </p:txBody>
      </p:sp>
      <p:sp>
        <p:nvSpPr>
          <p:cNvPr id="14" name="Title"/>
          <p:cNvSpPr>
            <a:spLocks noGrp="1"/>
          </p:cNvSpPr>
          <p:nvPr>
            <p:ph type="title" hasCustomPrompt="1"/>
          </p:nvPr>
        </p:nvSpPr>
        <p:spPr>
          <a:xfrm>
            <a:off x="0" y="4133088"/>
            <a:ext cx="3886200"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a:t>A.   Click to edit text</a:t>
            </a:r>
            <a:endParaRPr lang="de-DE"/>
          </a:p>
        </p:txBody>
      </p:sp>
      <p:graphicFrame>
        <p:nvGraphicFramePr>
          <p:cNvPr id="8" name="Object 7" hidden="1"/>
          <p:cNvGraphicFramePr>
            <a:graphicFrameLocks noChangeAspect="1"/>
          </p:cNvGraphicFramePr>
          <p:nvPr>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120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5"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10" name="Type of document"/>
          <p:cNvSpPr>
            <a:spLocks noGrp="1"/>
          </p:cNvSpPr>
          <p:nvPr>
            <p:ph type="body" sz="quarter" idx="18" hasCustomPrompt="1"/>
          </p:nvPr>
        </p:nvSpPr>
        <p:spPr>
          <a:xfrm>
            <a:off x="0" y="4567619"/>
            <a:ext cx="3611301"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br>
              <a:rPr lang="en-US"/>
            </a:br>
            <a:r>
              <a:rPr lang="en-US"/>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a:t>Location, date of presentation (month, day, year)</a:t>
            </a:r>
          </a:p>
        </p:txBody>
      </p:sp>
      <p:sp>
        <p:nvSpPr>
          <p:cNvPr id="4" name="Project name"/>
          <p:cNvSpPr>
            <a:spLocks noGrp="1"/>
          </p:cNvSpPr>
          <p:nvPr>
            <p:ph type="title" hasCustomPrompt="1"/>
          </p:nvPr>
        </p:nvSpPr>
        <p:spPr>
          <a:xfrm>
            <a:off x="0" y="3320814"/>
            <a:ext cx="3611301" cy="1061248"/>
          </a:xfrm>
        </p:spPr>
        <p:txBody>
          <a:bodyPr wrap="square" lIns="360000" rIns="0" bIns="0" anchor="b" anchorCtr="0">
            <a:spAutoFit/>
          </a:bodyPr>
          <a:lstStyle>
            <a:lvl1pPr>
              <a:defRPr sz="3700" baseline="0">
                <a:latin typeface="+mj-lt"/>
                <a:sym typeface="+mn-lt"/>
              </a:defRPr>
            </a:lvl1pPr>
          </a:lstStyle>
          <a:p>
            <a:r>
              <a:rPr lang="en-US"/>
              <a:t>Project name or document title</a:t>
            </a:r>
          </a:p>
        </p:txBody>
      </p:sp>
      <p:sp>
        <p:nvSpPr>
          <p:cNvPr id="19" name="Position Lines"/>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a:t>Client logo/nam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sp>
        <p:nvSpPr>
          <p:cNvPr id="5" name="Contents Text"/>
          <p:cNvSpPr>
            <a:spLocks noGrp="1"/>
          </p:cNvSpPr>
          <p:nvPr>
            <p:ph type="body" sz="quarter" idx="10" hasCustomPrompt="1"/>
            <p:custDataLst>
              <p:tags r:id="rId3"/>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a:t>A.	xxx	xx</a:t>
            </a:r>
          </a:p>
          <a:p>
            <a:pPr lvl="0"/>
            <a:r>
              <a:rPr lang="en-US"/>
              <a:t>B.	xxx	xx</a:t>
            </a:r>
          </a:p>
          <a:p>
            <a:pPr lvl="1"/>
            <a:r>
              <a:rPr lang="en-US"/>
              <a:t>1.	xxx	xx</a:t>
            </a:r>
          </a:p>
          <a:p>
            <a:pPr lvl="1"/>
            <a:r>
              <a:rPr lang="en-US"/>
              <a:t>2.	xxx	xx</a:t>
            </a:r>
          </a:p>
          <a:p>
            <a:pPr lvl="2"/>
            <a:r>
              <a:rPr lang="en-US"/>
              <a:t>2.1	xxx	xx</a:t>
            </a:r>
          </a:p>
          <a:p>
            <a:pPr lvl="2"/>
            <a:r>
              <a:rPr lang="en-US"/>
              <a:t>2.2	xxx	xx</a:t>
            </a:r>
          </a:p>
          <a:p>
            <a:pPr lvl="0"/>
            <a:r>
              <a:rPr lang="en-US"/>
              <a:t>C.	xxx	xx</a:t>
            </a:r>
          </a:p>
          <a:p>
            <a:pPr lvl="1"/>
            <a:r>
              <a:rPr lang="en-US"/>
              <a:t>1.	xxx	xx</a:t>
            </a:r>
          </a:p>
          <a:p>
            <a:pPr lvl="2"/>
            <a:r>
              <a:rPr lang="en-US"/>
              <a:t>1.1	xxx	xx</a:t>
            </a:r>
          </a:p>
        </p:txBody>
      </p:sp>
      <p:sp>
        <p:nvSpPr>
          <p:cNvPr id="10" name="Contents Title"/>
          <p:cNvSpPr txBox="1">
            <a:spLocks/>
          </p:cNvSpPr>
          <p:nvPr>
            <p:custDataLst>
              <p:tags r:id="rId4"/>
            </p:custDataLst>
          </p:nvPr>
        </p:nvSpPr>
        <p:spPr>
          <a:xfrm>
            <a:off x="738000" y="1040400"/>
            <a:ext cx="8535600" cy="304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32813" algn="r"/>
              </a:tabLst>
              <a:defRPr/>
            </a:pPr>
            <a:r>
              <a:rPr kumimoji="0" lang="en-US" altLang="de-DE" sz="2100" b="0" i="0" u="none" strike="noStrike" kern="1200" cap="none" spc="0" normalizeH="0" baseline="0" noProof="1">
                <a:ln>
                  <a:noFill/>
                </a:ln>
                <a:solidFill>
                  <a:schemeClr val="tx2"/>
                </a:solidFill>
                <a:effectLst/>
                <a:uLnTx/>
                <a:uFillTx/>
                <a:latin typeface="+mj-lt"/>
                <a:ea typeface="+mj-ea"/>
                <a:cs typeface="+mn-cs"/>
                <a:sym typeface="+mn-lt"/>
              </a:rPr>
              <a:t>Contents	Page</a:t>
            </a:r>
          </a:p>
        </p:txBody>
      </p:sp>
      <p:sp>
        <p:nvSpPr>
          <p:cNvPr id="14" name="Title"/>
          <p:cNvSpPr>
            <a:spLocks noGrp="1"/>
          </p:cNvSpPr>
          <p:nvPr>
            <p:ph type="title" hasCustomPrompt="1"/>
            <p:custDataLst>
              <p:tags r:id="rId5"/>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pic>
        <p:nvPicPr>
          <p:cNvPr id="8" name="Bild 2" hidden="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
        <p:nvSpPr>
          <p:cNvPr id="9" name="Note: Exclusive dealing"/>
          <p:cNvSpPr txBox="1">
            <a:spLocks noChangeArrowheads="1"/>
          </p:cNvSpPr>
          <p:nvPr>
            <p:custDataLst>
              <p:tags r:id="rId6"/>
            </p:custDataLst>
          </p:nvPr>
        </p:nvSpPr>
        <p:spPr bwMode="auto">
          <a:xfrm>
            <a:off x="738000" y="6280190"/>
            <a:ext cx="8535600" cy="553998"/>
          </a:xfrm>
          <a:prstGeom prst="rect">
            <a:avLst/>
          </a:prstGeom>
          <a:noFill/>
          <a:ln w="9525">
            <a:noFill/>
            <a:miter lim="800000"/>
            <a:headEnd/>
            <a:tailEnd/>
          </a:ln>
        </p:spPr>
        <p:txBody>
          <a:bodyPr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 analyses and the oral presentation. </a:t>
            </a:r>
          </a:p>
          <a:p>
            <a:pPr algn="l" rtl="0" eaLnBrk="0" fontAlgn="base" hangingPunct="0">
              <a:spcBef>
                <a:spcPct val="0"/>
              </a:spcBef>
              <a:spcAft>
                <a:spcPct val="0"/>
              </a:spcAft>
              <a:tabLst>
                <a:tab pos="4857750" algn="l"/>
              </a:tabLst>
            </a:pPr>
            <a:r>
              <a:rPr kumimoji="1" lang="en-US" altLang="de-DE" sz="900" b="0" kern="1200" noProof="0">
                <a:solidFill>
                  <a:schemeClr val="tx1"/>
                </a:solidFill>
                <a:latin typeface="+mn-lt"/>
                <a:ea typeface="+mn-ea"/>
                <a:cs typeface="+mn-cs"/>
                <a:sym typeface="+mn-lt"/>
              </a:rPr>
              <a:t>It may not be passed on and/or may not be made available to third parties without prior written consent from	.</a:t>
            </a:r>
          </a:p>
          <a:p>
            <a:pPr algn="l" rtl="0" eaLnBrk="0" fontAlgn="base" hangingPunct="0">
              <a:spcBef>
                <a:spcPct val="0"/>
              </a:spcBef>
              <a:spcAft>
                <a:spcPct val="0"/>
              </a:spcAft>
              <a:tabLst>
                <a:tab pos="4857750" algn="l"/>
              </a:tabLst>
            </a:pPr>
            <a:endParaRPr kumimoji="1" lang="en-US" altLang="de-DE" sz="900" b="0" kern="1200" noProof="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a:solidFill>
                  <a:schemeClr val="tx1"/>
                </a:solidFill>
                <a:latin typeface="+mn-lt"/>
                <a:ea typeface="+mn-ea"/>
                <a:cs typeface="+mn-cs"/>
                <a:sym typeface="+mn-lt"/>
              </a:rPr>
              <a:t>©  Roland Berger</a:t>
            </a:r>
          </a:p>
        </p:txBody>
      </p:sp>
      <p:pic>
        <p:nvPicPr>
          <p:cNvPr id="11" name="Bild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35469" y="6412481"/>
            <a:ext cx="355078" cy="176267"/>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pic>
        <p:nvPicPr>
          <p:cNvPr id="5"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9166" y="738001"/>
            <a:ext cx="1921844" cy="954041"/>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latin typeface="+mn-lt"/>
            </a:endParaRPr>
          </a:p>
        </p:txBody>
      </p:sp>
      <p:pic>
        <p:nvPicPr>
          <p:cNvPr id="6" name="Bild 2" hidden="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5"/>
          </a:xfrm>
          <a:prstGeom prst="rect">
            <a:avLst/>
          </a:prstGeom>
        </p:spPr>
      </p:pic>
    </p:spTree>
    <p:extLst>
      <p:ext uri="{BB962C8B-B14F-4D97-AF65-F5344CB8AC3E}">
        <p14:creationId xmlns:p14="http://schemas.microsoft.com/office/powerpoint/2010/main" val="3921947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Last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AC8C97-3214-4C0A-B23B-3CE7633D48A6}"/>
              </a:ext>
            </a:extLst>
          </p:cNvPr>
          <p:cNvGraphicFramePr>
            <a:graphicFrameLocks noChangeAspect="1"/>
          </p:cNvGraphicFramePr>
          <p:nvPr userDrawn="1">
            <p:custDataLst>
              <p:tags r:id="rId2"/>
            </p:custDataLst>
            <p:extLst>
              <p:ext uri="{D42A27DB-BD31-4B8C-83A1-F6EECF244321}">
                <p14:modId xmlns:p14="http://schemas.microsoft.com/office/powerpoint/2010/main" val="4120495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9" imgW="395" imgH="396" progId="TCLayout.ActiveDocument.1">
                  <p:embed/>
                </p:oleObj>
              </mc:Choice>
              <mc:Fallback>
                <p:oleObj name="think-cell Slide" r:id="rId9" imgW="395" imgH="396" progId="TCLayout.ActiveDocument.1">
                  <p:embed/>
                  <p:pic>
                    <p:nvPicPr>
                      <p:cNvPr id="2" name="Object 1" hidden="1">
                        <a:extLst>
                          <a:ext uri="{FF2B5EF4-FFF2-40B4-BE49-F238E27FC236}">
                            <a16:creationId xmlns:a16="http://schemas.microsoft.com/office/drawing/2014/main" id="{D5AC8C97-3214-4C0A-B23B-3CE7633D48A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Slide Number Placeholder" hidden="1"/>
          <p:cNvSpPr>
            <a:spLocks noGrp="1"/>
          </p:cNvSpPr>
          <p:nvPr>
            <p:ph type="sldNum" sz="quarter" idx="11"/>
            <p:custDataLst>
              <p:tags r:id="rId3"/>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a:latin typeface="+mn-lt"/>
            </a:endParaRPr>
          </a:p>
        </p:txBody>
      </p:sp>
      <p:sp>
        <p:nvSpPr>
          <p:cNvPr id="11" name="Footer Placeholder" hidden="1"/>
          <p:cNvSpPr>
            <a:spLocks noGrp="1"/>
          </p:cNvSpPr>
          <p:nvPr>
            <p:ph type="ftr" sz="quarter" idx="10"/>
            <p:custDataLst>
              <p:tags r:id="rId4"/>
            </p:custDataLst>
          </p:nvPr>
        </p:nvSpPr>
        <p:spPr>
          <a:xfrm>
            <a:off x="9972000" y="228649"/>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a:p>
        </p:txBody>
      </p:sp>
      <p:sp>
        <p:nvSpPr>
          <p:cNvPr id="5" name="Position Lines"/>
          <p:cNvSpPr>
            <a:spLocks noChangeShapeType="1"/>
          </p:cNvSpPr>
          <p:nvPr>
            <p:custDataLst>
              <p:tags r:id="rId5"/>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a:latin typeface="+mn-lt"/>
              <a:sym typeface="+mn-lt"/>
            </a:endParaRPr>
          </a:p>
        </p:txBody>
      </p:sp>
      <p:pic>
        <p:nvPicPr>
          <p:cNvPr id="6" name="Bild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58911" y="2204333"/>
            <a:ext cx="4788177" cy="2388375"/>
          </a:xfrm>
          <a:prstGeom prst="rect">
            <a:avLst/>
          </a:prstGeom>
        </p:spPr>
      </p:pic>
      <p:sp>
        <p:nvSpPr>
          <p:cNvPr id="8" name="Position Lines"/>
          <p:cNvSpPr>
            <a:spLocks noChangeShapeType="1"/>
          </p:cNvSpPr>
          <p:nvPr>
            <p:custDataLst>
              <p:tags r:id="rId6"/>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a:latin typeface="+mn-lt"/>
              <a:sym typeface="+mn-lt"/>
            </a:endParaRPr>
          </a:p>
        </p:txBody>
      </p:sp>
      <p:sp>
        <p:nvSpPr>
          <p:cNvPr id="7" name="Position Lines"/>
          <p:cNvSpPr>
            <a:spLocks noChangeShapeType="1"/>
          </p:cNvSpPr>
          <p:nvPr userDrawn="1">
            <p:custDataLst>
              <p:tags r:id="rId7"/>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a:latin typeface="+mn-lt"/>
              <a:sym typeface="+mn-lt"/>
            </a:endParaRPr>
          </a:p>
        </p:txBody>
      </p:sp>
    </p:spTree>
    <p:extLst>
      <p:ext uri="{BB962C8B-B14F-4D97-AF65-F5344CB8AC3E}">
        <p14:creationId xmlns:p14="http://schemas.microsoft.com/office/powerpoint/2010/main" val="9725440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031497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2" imgW="270" imgH="270" progId="TCLayout.ActiveDocument.1">
                  <p:embed/>
                </p:oleObj>
              </mc:Choice>
              <mc:Fallback>
                <p:oleObj name="think-cell Slide" r:id="rId12" imgW="270" imgH="270" progId="TCLayout.ActiveDocument.1">
                  <p:embed/>
                  <p:pic>
                    <p:nvPicPr>
                      <p:cNvPr id="4" name="!!!Do not delete this th-style object!!!!"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hidden="1"/>
          <p:cNvSpPr txBox="1">
            <a:spLocks noChangeArrowheads="1"/>
          </p:cNvSpPr>
          <p:nvPr/>
        </p:nvSpPr>
        <p:spPr bwMode="auto">
          <a:xfrm>
            <a:off x="6016433" y="6710400"/>
            <a:ext cx="313868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GB" sz="900" b="0" i="0" u="none" strike="noStrike" kern="1200" cap="none" spc="0" normalizeH="0" baseline="0" noProof="1">
                <a:ln>
                  <a:noFill/>
                </a:ln>
                <a:solidFill>
                  <a:schemeClr val="tx2"/>
                </a:solidFill>
                <a:effectLst/>
                <a:uLnTx/>
                <a:uFillTx/>
                <a:latin typeface="+mn-lt"/>
                <a:ea typeface="+mn-ea"/>
                <a:cs typeface="+mn-cs"/>
                <a:sym typeface="+mn-lt"/>
              </a:rPr>
              <a:t>220421_CAREC_ESCC_Meeting_presentation_Roland_Berger_ENG.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xxx</a:t>
            </a:r>
          </a:p>
        </p:txBody>
      </p:sp>
      <p:sp>
        <p:nvSpPr>
          <p:cNvPr id="56"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a:solidFill>
                  <a:schemeClr val="tx1"/>
                </a:solidFill>
                <a:latin typeface="+mn-lt"/>
                <a:cs typeface="+mn-cs"/>
                <a:sym typeface="+mn-lt"/>
              </a:rPr>
              <a:t>1) xxx</a:t>
            </a:r>
          </a:p>
        </p:txBody>
      </p:sp>
      <p:grpSp>
        <p:nvGrpSpPr>
          <p:cNvPr id="5"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15 Point Text: Level 0</a:t>
            </a:r>
            <a:endParaRPr lang="en-US" sz="1500" b="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Placeholder"/>
          <p:cNvSpPr>
            <a:spLocks noGrp="1"/>
          </p:cNvSpPr>
          <p:nvPr>
            <p:ph type="title"/>
          </p:nvPr>
        </p:nvSpPr>
        <p:spPr>
          <a:xfrm>
            <a:off x="738000" y="720000"/>
            <a:ext cx="8535988" cy="747897"/>
          </a:xfrm>
          <a:prstGeom prst="rect">
            <a:avLst/>
          </a:prstGeom>
        </p:spPr>
        <p:txBody>
          <a:bodyPr vert="horz" wrap="square" lIns="0" tIns="0" rIns="0" bIns="0" rtlCol="0" anchor="t" anchorCtr="0">
            <a:noAutofit/>
          </a:bodyPr>
          <a:lstStyle/>
          <a:p>
            <a:r>
              <a:rPr lang="en-US" noProof="0"/>
              <a:t>Click to edit Master title style</a:t>
            </a:r>
          </a:p>
        </p:txBody>
      </p:sp>
      <p:grpSp>
        <p:nvGrpSpPr>
          <p:cNvPr id="19" name="Drawing grid" hidden="1"/>
          <p:cNvGrpSpPr/>
          <p:nvPr/>
        </p:nvGrpSpPr>
        <p:grpSpPr>
          <a:xfrm>
            <a:off x="0" y="0"/>
            <a:ext cx="9906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a:p>
          </p:txBody>
        </p:sp>
      </p:grpSp>
      <p:pic>
        <p:nvPicPr>
          <p:cNvPr id="34" name="Picture 33" descr="Картинки по запросу &quot;asian development bank logo png&quot;">
            <a:extLst>
              <a:ext uri="{FF2B5EF4-FFF2-40B4-BE49-F238E27FC236}">
                <a16:creationId xmlns:a16="http://schemas.microsoft.com/office/drawing/2014/main" id="{5992A6AF-3612-41B8-9302-732FBDD74EDD}"/>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093197" y="202871"/>
            <a:ext cx="485202" cy="485202"/>
          </a:xfrm>
          <a:prstGeom prst="rect">
            <a:avLst/>
          </a:prstGeom>
          <a:noFill/>
          <a:extLst>
            <a:ext uri="{909E8E84-426E-40DD-AFC4-6F175D3DCCD1}">
              <a14:hiddenFill xmlns:a14="http://schemas.microsoft.com/office/drawing/2010/main">
                <a:solidFill>
                  <a:srgbClr val="FFFFFF"/>
                </a:solidFill>
              </a14:hiddenFill>
            </a:ext>
          </a:extLst>
        </p:spPr>
      </p:pic>
      <p:pic>
        <p:nvPicPr>
          <p:cNvPr id="35" name="Bild 2">
            <a:extLst>
              <a:ext uri="{FF2B5EF4-FFF2-40B4-BE49-F238E27FC236}">
                <a16:creationId xmlns:a16="http://schemas.microsoft.com/office/drawing/2014/main" id="{490D6D01-78BA-476F-A73B-D2993586220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732450" y="202871"/>
            <a:ext cx="945219" cy="469226"/>
          </a:xfrm>
          <a:prstGeom prst="rect">
            <a:avLst/>
          </a:prstGeom>
        </p:spPr>
      </p:pic>
    </p:spTree>
  </p:cSld>
  <p:clrMap bg1="lt1" tx1="dk1" bg2="lt2" tx2="dk2" accent1="accent1" accent2="accent2" accent3="accent3" accent4="accent4" accent5="accent5" accent6="accent6" hlink="hlink" folHlink="folHlink"/>
  <p:sldLayoutIdLst>
    <p:sldLayoutId id="2147484740" r:id="rId1"/>
    <p:sldLayoutId id="2147484741" r:id="rId2"/>
    <p:sldLayoutId id="2147484742" r:id="rId3"/>
    <p:sldLayoutId id="2147484743" r:id="rId4"/>
    <p:sldLayoutId id="2147484744" r:id="rId5"/>
    <p:sldLayoutId id="2147484746" r:id="rId6"/>
    <p:sldLayoutId id="2147484747" r:id="rId7"/>
    <p:sldLayoutId id="2147484748" r:id="rId8"/>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oleObject" Target="../embeddings/oleObject6.bin"/><Relationship Id="rId11" Type="http://schemas.openxmlformats.org/officeDocument/2006/relationships/image" Target="../media/image2.png"/><Relationship Id="rId5" Type="http://schemas.openxmlformats.org/officeDocument/2006/relationships/notesSlide" Target="../notesSlides/notesSlide1.xml"/><Relationship Id="rId10" Type="http://schemas.openxmlformats.org/officeDocument/2006/relationships/image" Target="../media/image12.png"/><Relationship Id="rId4" Type="http://schemas.openxmlformats.org/officeDocument/2006/relationships/slideLayout" Target="../slideLayouts/slideLayout4.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slideLayout" Target="../slideLayouts/slideLayout2.xml"/><Relationship Id="rId18" Type="http://schemas.openxmlformats.org/officeDocument/2006/relationships/image" Target="../media/image12.pn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chart" Target="../charts/chart6.xml"/><Relationship Id="rId2" Type="http://schemas.openxmlformats.org/officeDocument/2006/relationships/tags" Target="../tags/tag165.xml"/><Relationship Id="rId16" Type="http://schemas.openxmlformats.org/officeDocument/2006/relationships/chart" Target="../charts/chart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image" Target="../media/image9.emf"/><Relationship Id="rId10" Type="http://schemas.openxmlformats.org/officeDocument/2006/relationships/tags" Target="../tags/tag173.xml"/><Relationship Id="rId19" Type="http://schemas.openxmlformats.org/officeDocument/2006/relationships/image" Target="../media/image13.png"/><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tags" Target="../tags/tag200.xml"/><Relationship Id="rId21" Type="http://schemas.openxmlformats.org/officeDocument/2006/relationships/tags" Target="../tags/tag195.xml"/><Relationship Id="rId34" Type="http://schemas.openxmlformats.org/officeDocument/2006/relationships/oleObject" Target="../embeddings/oleObject16.bin"/><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tags" Target="../tags/tag199.xml"/><Relationship Id="rId33" Type="http://schemas.openxmlformats.org/officeDocument/2006/relationships/slideLayout" Target="../slideLayouts/slideLayout2.xml"/><Relationship Id="rId38" Type="http://schemas.openxmlformats.org/officeDocument/2006/relationships/chart" Target="../charts/chart8.xml"/><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29" Type="http://schemas.openxmlformats.org/officeDocument/2006/relationships/tags" Target="../tags/tag203.xml"/><Relationship Id="rId1" Type="http://schemas.openxmlformats.org/officeDocument/2006/relationships/vmlDrawing" Target="../drawings/vmlDrawing14.vml"/><Relationship Id="rId6" Type="http://schemas.openxmlformats.org/officeDocument/2006/relationships/tags" Target="../tags/tag180.xml"/><Relationship Id="rId11" Type="http://schemas.openxmlformats.org/officeDocument/2006/relationships/tags" Target="../tags/tag185.xml"/><Relationship Id="rId24" Type="http://schemas.openxmlformats.org/officeDocument/2006/relationships/tags" Target="../tags/tag198.xml"/><Relationship Id="rId32" Type="http://schemas.openxmlformats.org/officeDocument/2006/relationships/tags" Target="../tags/tag206.xml"/><Relationship Id="rId37" Type="http://schemas.openxmlformats.org/officeDocument/2006/relationships/image" Target="../media/image12.png"/><Relationship Id="rId5" Type="http://schemas.openxmlformats.org/officeDocument/2006/relationships/tags" Target="../tags/tag179.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tags" Target="../tags/tag202.xml"/><Relationship Id="rId36" Type="http://schemas.openxmlformats.org/officeDocument/2006/relationships/chart" Target="../charts/chart7.xml"/><Relationship Id="rId10" Type="http://schemas.openxmlformats.org/officeDocument/2006/relationships/tags" Target="../tags/tag184.xml"/><Relationship Id="rId19" Type="http://schemas.openxmlformats.org/officeDocument/2006/relationships/tags" Target="../tags/tag193.xml"/><Relationship Id="rId31" Type="http://schemas.openxmlformats.org/officeDocument/2006/relationships/tags" Target="../tags/tag205.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tags" Target="../tags/tag196.xml"/><Relationship Id="rId27" Type="http://schemas.openxmlformats.org/officeDocument/2006/relationships/tags" Target="../tags/tag201.xml"/><Relationship Id="rId30" Type="http://schemas.openxmlformats.org/officeDocument/2006/relationships/tags" Target="../tags/tag204.xml"/><Relationship Id="rId35" Type="http://schemas.openxmlformats.org/officeDocument/2006/relationships/image" Target="../media/image9.emf"/><Relationship Id="rId8" Type="http://schemas.openxmlformats.org/officeDocument/2006/relationships/tags" Target="../tags/tag182.xml"/><Relationship Id="rId3" Type="http://schemas.openxmlformats.org/officeDocument/2006/relationships/tags" Target="../tags/tag177.xml"/></Relationships>
</file>

<file path=ppt/slides/_rels/slide12.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40.emf"/><Relationship Id="rId2" Type="http://schemas.openxmlformats.org/officeDocument/2006/relationships/tags" Target="../tags/tag207.xml"/><Relationship Id="rId1" Type="http://schemas.openxmlformats.org/officeDocument/2006/relationships/vmlDrawing" Target="../drawings/vmlDrawing15.vml"/><Relationship Id="rId6" Type="http://schemas.openxmlformats.org/officeDocument/2006/relationships/oleObject" Target="../embeddings/oleObject17.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2.xml"/><Relationship Id="rId7" Type="http://schemas.openxmlformats.org/officeDocument/2006/relationships/oleObject" Target="../embeddings/oleObject8.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33.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5.xml"/><Relationship Id="rId7" Type="http://schemas.openxmlformats.org/officeDocument/2006/relationships/oleObject" Target="../embeddings/oleObject9.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36.xml"/><Relationship Id="rId9"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18" Type="http://schemas.openxmlformats.org/officeDocument/2006/relationships/image" Target="../media/image13.png"/><Relationship Id="rId3" Type="http://schemas.openxmlformats.org/officeDocument/2006/relationships/tags" Target="../tags/tag38.xml"/><Relationship Id="rId7" Type="http://schemas.openxmlformats.org/officeDocument/2006/relationships/image" Target="../media/image12.png"/><Relationship Id="rId12" Type="http://schemas.openxmlformats.org/officeDocument/2006/relationships/image" Target="../media/image18.emf"/><Relationship Id="rId17" Type="http://schemas.openxmlformats.org/officeDocument/2006/relationships/image" Target="../media/image23.emf"/><Relationship Id="rId2" Type="http://schemas.openxmlformats.org/officeDocument/2006/relationships/tags" Target="../tags/tag37.xml"/><Relationship Id="rId16" Type="http://schemas.openxmlformats.org/officeDocument/2006/relationships/image" Target="../media/image22.emf"/><Relationship Id="rId1" Type="http://schemas.openxmlformats.org/officeDocument/2006/relationships/vmlDrawing" Target="../drawings/vmlDrawing8.vml"/><Relationship Id="rId6" Type="http://schemas.openxmlformats.org/officeDocument/2006/relationships/image" Target="../media/image9.emf"/><Relationship Id="rId11" Type="http://schemas.openxmlformats.org/officeDocument/2006/relationships/image" Target="../media/image17.emf"/><Relationship Id="rId5" Type="http://schemas.openxmlformats.org/officeDocument/2006/relationships/oleObject" Target="../embeddings/oleObject10.bin"/><Relationship Id="rId15" Type="http://schemas.openxmlformats.org/officeDocument/2006/relationships/image" Target="../media/image21.emf"/><Relationship Id="rId10" Type="http://schemas.openxmlformats.org/officeDocument/2006/relationships/image" Target="../media/image16.emf"/><Relationship Id="rId4" Type="http://schemas.openxmlformats.org/officeDocument/2006/relationships/slideLayout" Target="../slideLayouts/slideLayout2.xml"/><Relationship Id="rId9" Type="http://schemas.openxmlformats.org/officeDocument/2006/relationships/image" Target="../media/image15.emf"/><Relationship Id="rId14" Type="http://schemas.openxmlformats.org/officeDocument/2006/relationships/image" Target="../media/image20.emf"/></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image" Target="../media/image29.gif"/><Relationship Id="rId3" Type="http://schemas.openxmlformats.org/officeDocument/2006/relationships/tags" Target="../tags/tag40.xml"/><Relationship Id="rId21" Type="http://schemas.openxmlformats.org/officeDocument/2006/relationships/image" Target="../media/image24.emf"/><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image" Target="../media/image28.gif"/><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oleObject" Target="../embeddings/oleObject11.bin"/><Relationship Id="rId29" Type="http://schemas.openxmlformats.org/officeDocument/2006/relationships/image" Target="../media/image32.gif"/><Relationship Id="rId1" Type="http://schemas.openxmlformats.org/officeDocument/2006/relationships/vmlDrawing" Target="../drawings/vmlDrawing9.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image" Target="../media/image27.gif"/><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image" Target="../media/image26.gif"/><Relationship Id="rId28" Type="http://schemas.openxmlformats.org/officeDocument/2006/relationships/image" Target="../media/image31.gif"/><Relationship Id="rId10" Type="http://schemas.openxmlformats.org/officeDocument/2006/relationships/tags" Target="../tags/tag47.xml"/><Relationship Id="rId19" Type="http://schemas.openxmlformats.org/officeDocument/2006/relationships/slideLayout" Target="../slideLayouts/slideLayout1.xml"/><Relationship Id="rId31" Type="http://schemas.openxmlformats.org/officeDocument/2006/relationships/image" Target="../media/image34.gif"/><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image" Target="../media/image25.gif"/><Relationship Id="rId27" Type="http://schemas.openxmlformats.org/officeDocument/2006/relationships/image" Target="../media/image30.gif"/><Relationship Id="rId30" Type="http://schemas.openxmlformats.org/officeDocument/2006/relationships/image" Target="../media/image33.gif"/></Relationships>
</file>

<file path=ppt/slides/_rels/slide7.xml.rels><?xml version="1.0" encoding="UTF-8" standalone="yes"?>
<Relationships xmlns="http://schemas.openxmlformats.org/package/2006/relationships"><Relationship Id="rId26" Type="http://schemas.openxmlformats.org/officeDocument/2006/relationships/tags" Target="../tags/tag80.xml"/><Relationship Id="rId21" Type="http://schemas.openxmlformats.org/officeDocument/2006/relationships/tags" Target="../tags/tag75.xml"/><Relationship Id="rId42" Type="http://schemas.openxmlformats.org/officeDocument/2006/relationships/tags" Target="../tags/tag96.xml"/><Relationship Id="rId47" Type="http://schemas.openxmlformats.org/officeDocument/2006/relationships/tags" Target="../tags/tag101.xml"/><Relationship Id="rId63" Type="http://schemas.openxmlformats.org/officeDocument/2006/relationships/tags" Target="../tags/tag117.xml"/><Relationship Id="rId68" Type="http://schemas.openxmlformats.org/officeDocument/2006/relationships/tags" Target="../tags/tag122.xml"/><Relationship Id="rId16" Type="http://schemas.openxmlformats.org/officeDocument/2006/relationships/tags" Target="../tags/tag70.xml"/><Relationship Id="rId11" Type="http://schemas.openxmlformats.org/officeDocument/2006/relationships/tags" Target="../tags/tag65.xml"/><Relationship Id="rId32" Type="http://schemas.openxmlformats.org/officeDocument/2006/relationships/tags" Target="../tags/tag86.xml"/><Relationship Id="rId37" Type="http://schemas.openxmlformats.org/officeDocument/2006/relationships/tags" Target="../tags/tag91.xml"/><Relationship Id="rId53" Type="http://schemas.openxmlformats.org/officeDocument/2006/relationships/tags" Target="../tags/tag107.xml"/><Relationship Id="rId58" Type="http://schemas.openxmlformats.org/officeDocument/2006/relationships/tags" Target="../tags/tag112.xml"/><Relationship Id="rId74" Type="http://schemas.openxmlformats.org/officeDocument/2006/relationships/tags" Target="../tags/tag128.xml"/><Relationship Id="rId79" Type="http://schemas.openxmlformats.org/officeDocument/2006/relationships/chart" Target="../charts/chart2.xml"/><Relationship Id="rId5" Type="http://schemas.openxmlformats.org/officeDocument/2006/relationships/tags" Target="../tags/tag59.xml"/><Relationship Id="rId61" Type="http://schemas.openxmlformats.org/officeDocument/2006/relationships/tags" Target="../tags/tag115.xml"/><Relationship Id="rId82" Type="http://schemas.microsoft.com/office/2007/relationships/hdphoto" Target="../media/hdphoto1.wdp"/><Relationship Id="rId19" Type="http://schemas.openxmlformats.org/officeDocument/2006/relationships/tags" Target="../tags/tag7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tags" Target="../tags/tag110.xml"/><Relationship Id="rId64" Type="http://schemas.openxmlformats.org/officeDocument/2006/relationships/tags" Target="../tags/tag118.xml"/><Relationship Id="rId69" Type="http://schemas.openxmlformats.org/officeDocument/2006/relationships/tags" Target="../tags/tag123.xml"/><Relationship Id="rId77" Type="http://schemas.openxmlformats.org/officeDocument/2006/relationships/image" Target="../media/image9.emf"/><Relationship Id="rId8" Type="http://schemas.openxmlformats.org/officeDocument/2006/relationships/tags" Target="../tags/tag62.xml"/><Relationship Id="rId51" Type="http://schemas.openxmlformats.org/officeDocument/2006/relationships/tags" Target="../tags/tag105.xml"/><Relationship Id="rId72" Type="http://schemas.openxmlformats.org/officeDocument/2006/relationships/tags" Target="../tags/tag126.xml"/><Relationship Id="rId80" Type="http://schemas.openxmlformats.org/officeDocument/2006/relationships/chart" Target="../charts/chart3.xml"/><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59" Type="http://schemas.openxmlformats.org/officeDocument/2006/relationships/tags" Target="../tags/tag113.xml"/><Relationship Id="rId67" Type="http://schemas.openxmlformats.org/officeDocument/2006/relationships/tags" Target="../tags/tag121.xml"/><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tags" Target="../tags/tag108.xml"/><Relationship Id="rId62" Type="http://schemas.openxmlformats.org/officeDocument/2006/relationships/tags" Target="../tags/tag116.xml"/><Relationship Id="rId70" Type="http://schemas.openxmlformats.org/officeDocument/2006/relationships/tags" Target="../tags/tag124.xml"/><Relationship Id="rId75"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tags" Target="../tags/tag60.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tags" Target="../tags/tag111.xml"/><Relationship Id="rId10" Type="http://schemas.openxmlformats.org/officeDocument/2006/relationships/tags" Target="../tags/tag64.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tags" Target="../tags/tag106.xml"/><Relationship Id="rId60" Type="http://schemas.openxmlformats.org/officeDocument/2006/relationships/tags" Target="../tags/tag114.xml"/><Relationship Id="rId65" Type="http://schemas.openxmlformats.org/officeDocument/2006/relationships/tags" Target="../tags/tag119.xml"/><Relationship Id="rId73" Type="http://schemas.openxmlformats.org/officeDocument/2006/relationships/tags" Target="../tags/tag127.xml"/><Relationship Id="rId78" Type="http://schemas.openxmlformats.org/officeDocument/2006/relationships/image" Target="../media/image12.png"/><Relationship Id="rId81" Type="http://schemas.openxmlformats.org/officeDocument/2006/relationships/image" Target="../media/image35.png"/><Relationship Id="rId4" Type="http://schemas.openxmlformats.org/officeDocument/2006/relationships/tags" Target="../tags/tag58.xml"/><Relationship Id="rId9" Type="http://schemas.openxmlformats.org/officeDocument/2006/relationships/tags" Target="../tags/tag63.xml"/><Relationship Id="rId13" Type="http://schemas.openxmlformats.org/officeDocument/2006/relationships/tags" Target="../tags/tag67.xml"/><Relationship Id="rId18" Type="http://schemas.openxmlformats.org/officeDocument/2006/relationships/tags" Target="../tags/tag72.xml"/><Relationship Id="rId39" Type="http://schemas.openxmlformats.org/officeDocument/2006/relationships/tags" Target="../tags/tag93.xml"/><Relationship Id="rId34" Type="http://schemas.openxmlformats.org/officeDocument/2006/relationships/tags" Target="../tags/tag88.xml"/><Relationship Id="rId50" Type="http://schemas.openxmlformats.org/officeDocument/2006/relationships/tags" Target="../tags/tag104.xml"/><Relationship Id="rId55" Type="http://schemas.openxmlformats.org/officeDocument/2006/relationships/tags" Target="../tags/tag109.xml"/><Relationship Id="rId76" Type="http://schemas.openxmlformats.org/officeDocument/2006/relationships/oleObject" Target="../embeddings/oleObject12.bin"/><Relationship Id="rId7" Type="http://schemas.openxmlformats.org/officeDocument/2006/relationships/tags" Target="../tags/tag61.xml"/><Relationship Id="rId71" Type="http://schemas.openxmlformats.org/officeDocument/2006/relationships/tags" Target="../tags/tag125.xml"/><Relationship Id="rId2" Type="http://schemas.openxmlformats.org/officeDocument/2006/relationships/tags" Target="../tags/tag56.xml"/><Relationship Id="rId29" Type="http://schemas.openxmlformats.org/officeDocument/2006/relationships/tags" Target="../tags/tag83.xml"/><Relationship Id="rId24" Type="http://schemas.openxmlformats.org/officeDocument/2006/relationships/tags" Target="../tags/tag78.xml"/><Relationship Id="rId40" Type="http://schemas.openxmlformats.org/officeDocument/2006/relationships/tags" Target="../tags/tag94.xml"/><Relationship Id="rId45" Type="http://schemas.openxmlformats.org/officeDocument/2006/relationships/tags" Target="../tags/tag99.xml"/><Relationship Id="rId66" Type="http://schemas.openxmlformats.org/officeDocument/2006/relationships/tags" Target="../tags/tag120.xml"/></Relationships>
</file>

<file path=ppt/slides/_rels/slide8.xml.rels><?xml version="1.0" encoding="UTF-8" standalone="yes"?>
<Relationships xmlns="http://schemas.openxmlformats.org/package/2006/relationships"><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9" Type="http://schemas.openxmlformats.org/officeDocument/2006/relationships/image" Target="../media/image36.jpeg"/><Relationship Id="rId21" Type="http://schemas.openxmlformats.org/officeDocument/2006/relationships/tags" Target="../tags/tag148.xml"/><Relationship Id="rId34" Type="http://schemas.openxmlformats.org/officeDocument/2006/relationships/tags" Target="../tags/tag161.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oleObject" Target="../embeddings/oleObject13.bin"/><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29"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notesSlide" Target="../notesSlides/notesSlide5.xml"/><Relationship Id="rId40" Type="http://schemas.openxmlformats.org/officeDocument/2006/relationships/chart" Target="../charts/chart4.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slideLayout" Target="../slideLayouts/slideLayout1.xml"/><Relationship Id="rId10" Type="http://schemas.openxmlformats.org/officeDocument/2006/relationships/tags" Target="../tags/tag137.xml"/><Relationship Id="rId19" Type="http://schemas.openxmlformats.org/officeDocument/2006/relationships/tags" Target="../tags/tag146.xml"/><Relationship Id="rId31" Type="http://schemas.openxmlformats.org/officeDocument/2006/relationships/tags" Target="../tags/tag158.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8" Type="http://schemas.openxmlformats.org/officeDocument/2006/relationships/tags" Target="../tags/tag135.xml"/><Relationship Id="rId3" Type="http://schemas.openxmlformats.org/officeDocument/2006/relationships/tags" Target="../tags/tag130.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164.xml"/><Relationship Id="rId7" Type="http://schemas.openxmlformats.org/officeDocument/2006/relationships/image" Target="../media/image37.emf"/><Relationship Id="rId2" Type="http://schemas.openxmlformats.org/officeDocument/2006/relationships/tags" Target="../tags/tag163.xml"/><Relationship Id="rId1" Type="http://schemas.openxmlformats.org/officeDocument/2006/relationships/vmlDrawing" Target="../drawings/vmlDrawing12.vml"/><Relationship Id="rId6" Type="http://schemas.openxmlformats.org/officeDocument/2006/relationships/oleObject" Target="../embeddings/oleObject14.bin"/><Relationship Id="rId11" Type="http://schemas.openxmlformats.org/officeDocument/2006/relationships/image" Target="../media/image13.png"/><Relationship Id="rId5" Type="http://schemas.openxmlformats.org/officeDocument/2006/relationships/notesSlide" Target="../notesSlides/notesSlide6.xml"/><Relationship Id="rId10" Type="http://schemas.openxmlformats.org/officeDocument/2006/relationships/image" Target="../media/image39.svg"/><Relationship Id="rId4" Type="http://schemas.openxmlformats.org/officeDocument/2006/relationships/slideLayout" Target="../slideLayouts/slideLayout1.xml"/><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9EDFBE-33A8-412A-BB32-B4C223DEB3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579EDFBE-33A8-412A-BB32-B4C223DEB3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sky, grass, outdoor, outdoor object&#10;&#10;Description automatically generated">
            <a:extLst>
              <a:ext uri="{FF2B5EF4-FFF2-40B4-BE49-F238E27FC236}">
                <a16:creationId xmlns:a16="http://schemas.microsoft.com/office/drawing/2014/main" id="{754D8B35-5E41-471C-853D-A65CCCDBC0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5987" y="1041543"/>
            <a:ext cx="7178288" cy="4737670"/>
          </a:xfrm>
          <a:prstGeom prst="rect">
            <a:avLst/>
          </a:prstGeom>
        </p:spPr>
      </p:pic>
      <p:sp>
        <p:nvSpPr>
          <p:cNvPr id="7" name="Rectangle 6" hidden="1">
            <a:extLst>
              <a:ext uri="{FF2B5EF4-FFF2-40B4-BE49-F238E27FC236}">
                <a16:creationId xmlns:a16="http://schemas.microsoft.com/office/drawing/2014/main" id="{8A841DC0-C1D6-4395-82DB-1F02D452FE31}"/>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3700" b="0">
              <a:latin typeface="Arial Narrow" panose="020B0606020202030204" pitchFamily="34" charset="0"/>
              <a:ea typeface="+mj-ea"/>
              <a:cs typeface="+mj-cs"/>
              <a:sym typeface="Arial Narrow" panose="020B0606020202030204" pitchFamily="34" charset="0"/>
            </a:endParaRPr>
          </a:p>
        </p:txBody>
      </p:sp>
      <p:pic>
        <p:nvPicPr>
          <p:cNvPr id="8" name="Picture 7">
            <a:extLst>
              <a:ext uri="{FF2B5EF4-FFF2-40B4-BE49-F238E27FC236}">
                <a16:creationId xmlns:a16="http://schemas.microsoft.com/office/drawing/2014/main" id="{B9F9C89A-1973-46C7-9112-7208D8B40A2A}"/>
              </a:ext>
            </a:extLst>
          </p:cNvPr>
          <p:cNvPicPr>
            <a:picLocks noChangeAspect="1"/>
          </p:cNvPicPr>
          <p:nvPr/>
        </p:nvPicPr>
        <p:blipFill>
          <a:blip r:embed="rId9"/>
          <a:stretch>
            <a:fillRect/>
          </a:stretch>
        </p:blipFill>
        <p:spPr>
          <a:xfrm>
            <a:off x="0" y="0"/>
            <a:ext cx="9906000" cy="6868273"/>
          </a:xfrm>
          <a:prstGeom prst="rect">
            <a:avLst/>
          </a:prstGeom>
        </p:spPr>
      </p:pic>
      <p:sp>
        <p:nvSpPr>
          <p:cNvPr id="3" name="Text Placeholder 2">
            <a:extLst>
              <a:ext uri="{FF2B5EF4-FFF2-40B4-BE49-F238E27FC236}">
                <a16:creationId xmlns:a16="http://schemas.microsoft.com/office/drawing/2014/main" id="{4630ED64-E99C-4C80-9B51-0A791EEE7362}"/>
              </a:ext>
            </a:extLst>
          </p:cNvPr>
          <p:cNvSpPr>
            <a:spLocks noGrp="1"/>
          </p:cNvSpPr>
          <p:nvPr>
            <p:ph type="body" sz="quarter" idx="16"/>
          </p:nvPr>
        </p:nvSpPr>
        <p:spPr/>
        <p:txBody>
          <a:bodyPr/>
          <a:lstStyle/>
          <a:p>
            <a:r>
              <a:rPr lang="en-US"/>
              <a:t>April 21, 2022</a:t>
            </a:r>
            <a:endParaRPr lang="uk-UA"/>
          </a:p>
        </p:txBody>
      </p:sp>
      <p:sp>
        <p:nvSpPr>
          <p:cNvPr id="4" name="Title 3">
            <a:extLst>
              <a:ext uri="{FF2B5EF4-FFF2-40B4-BE49-F238E27FC236}">
                <a16:creationId xmlns:a16="http://schemas.microsoft.com/office/drawing/2014/main" id="{FCCB22DD-FEF8-4281-8EA8-34839F6A4CC4}"/>
              </a:ext>
            </a:extLst>
          </p:cNvPr>
          <p:cNvSpPr>
            <a:spLocks noGrp="1"/>
          </p:cNvSpPr>
          <p:nvPr>
            <p:ph type="title"/>
          </p:nvPr>
        </p:nvSpPr>
        <p:spPr>
          <a:xfrm>
            <a:off x="0" y="2141415"/>
            <a:ext cx="3611301" cy="1537344"/>
          </a:xfrm>
        </p:spPr>
        <p:txBody>
          <a:bodyPr vert="horz"/>
          <a:lstStyle/>
          <a:p>
            <a:r>
              <a:rPr lang="en-US"/>
              <a:t>Regional Energy Investment Outlook</a:t>
            </a:r>
            <a:endParaRPr lang="uk-UA"/>
          </a:p>
        </p:txBody>
      </p:sp>
      <p:pic>
        <p:nvPicPr>
          <p:cNvPr id="57348" name="Picture 4" descr="Результат пошуку зображень за запитом carec logo transparent">
            <a:extLst>
              <a:ext uri="{FF2B5EF4-FFF2-40B4-BE49-F238E27FC236}">
                <a16:creationId xmlns:a16="http://schemas.microsoft.com/office/drawing/2014/main" id="{7C36A632-734C-4C96-86B5-B63207DA330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9999" y="5107104"/>
            <a:ext cx="975642" cy="6721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Картинки по запросу &quot;asian development bank logo png&quot;">
            <a:extLst>
              <a:ext uri="{FF2B5EF4-FFF2-40B4-BE49-F238E27FC236}">
                <a16:creationId xmlns:a16="http://schemas.microsoft.com/office/drawing/2014/main" id="{E3447532-E491-46BD-B4E6-B6529DC5F46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95640" y="5107104"/>
            <a:ext cx="672109" cy="672109"/>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
            <a:extLst>
              <a:ext uri="{FF2B5EF4-FFF2-40B4-BE49-F238E27FC236}">
                <a16:creationId xmlns:a16="http://schemas.microsoft.com/office/drawing/2014/main" id="{017665FE-49C2-41BA-B63E-33D6996A0DD5}"/>
              </a:ext>
            </a:extLst>
          </p:cNvPr>
          <p:cNvSpPr txBox="1">
            <a:spLocks/>
          </p:cNvSpPr>
          <p:nvPr/>
        </p:nvSpPr>
        <p:spPr>
          <a:xfrm>
            <a:off x="0" y="4068996"/>
            <a:ext cx="3611301" cy="581698"/>
          </a:xfrm>
          <a:prstGeom prst="rect">
            <a:avLst/>
          </a:prstGeom>
        </p:spPr>
        <p:txBody>
          <a:bodyPr vert="horz" wrap="square" lIns="360000" tIns="0" rIns="0" bIns="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a:solidFill>
                  <a:schemeClr val="tx1"/>
                </a:solidFill>
                <a:latin typeface="+mn-lt"/>
                <a:ea typeface="+mn-ea"/>
                <a:cs typeface="+mn-cs"/>
                <a:sym typeface="+mn-lt"/>
              </a:defRPr>
            </a:lvl1pPr>
            <a:lvl2pPr marL="230400" indent="-230400" algn="l" defTabSz="914400" rtl="0" eaLnBrk="1" latinLnBrk="0" hangingPunct="1">
              <a:lnSpc>
                <a:spcPct val="90000"/>
              </a:lnSpc>
              <a:spcBef>
                <a:spcPts val="0"/>
              </a:spcBef>
              <a:buFont typeface="Arial Narrow" pitchFamily="34" charset="0"/>
              <a:buChar char="&gt;"/>
              <a:defRPr lang="en-US" sz="2100" b="0" kern="1200">
                <a:solidFill>
                  <a:schemeClr val="tx1"/>
                </a:solidFill>
                <a:latin typeface="+mn-lt"/>
                <a:ea typeface="+mn-ea"/>
                <a:cs typeface="+mn-cs"/>
                <a:sym typeface="+mn-lt"/>
              </a:defRPr>
            </a:lvl2pPr>
            <a:lvl3pPr marL="482400" indent="-234000" algn="l" defTabSz="914400" rtl="0" eaLnBrk="1" latinLnBrk="0" hangingPunct="1">
              <a:lnSpc>
                <a:spcPct val="90000"/>
              </a:lnSpc>
              <a:spcBef>
                <a:spcPts val="0"/>
              </a:spcBef>
              <a:buFont typeface="Arial Narrow" pitchFamily="34" charset="0"/>
              <a:buChar char="–"/>
              <a:defRPr lang="en-US" sz="2100" b="0" kern="1200">
                <a:solidFill>
                  <a:schemeClr val="tx1"/>
                </a:solidFill>
                <a:latin typeface="+mn-lt"/>
                <a:ea typeface="+mn-ea"/>
                <a:cs typeface="+mn-cs"/>
                <a:sym typeface="+mn-lt"/>
              </a:defRPr>
            </a:lvl3pPr>
            <a:lvl4pPr marL="698400" indent="-201600" algn="l" defTabSz="914400" rtl="0" eaLnBrk="1" latinLnBrk="0" hangingPunct="1">
              <a:lnSpc>
                <a:spcPct val="90000"/>
              </a:lnSpc>
              <a:spcBef>
                <a:spcPts val="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0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auto">
              <a:spcAft>
                <a:spcPts val="0"/>
              </a:spcAft>
            </a:pPr>
            <a:r>
              <a:rPr lang="en-US"/>
              <a:t>Presentation for CAREC </a:t>
            </a:r>
            <a:br>
              <a:rPr lang="en-US"/>
            </a:br>
            <a:r>
              <a:rPr lang="en-US"/>
              <a:t>Energy Sector Coordinating </a:t>
            </a:r>
            <a:br>
              <a:rPr lang="en-US"/>
            </a:br>
            <a:r>
              <a:rPr lang="en-US"/>
              <a:t>Committee Meeting </a:t>
            </a:r>
          </a:p>
          <a:p>
            <a:pPr fontAlgn="auto">
              <a:spcAft>
                <a:spcPts val="0"/>
              </a:spcAft>
            </a:pPr>
            <a:endParaRPr lang="en-US"/>
          </a:p>
        </p:txBody>
      </p:sp>
    </p:spTree>
    <p:extLst>
      <p:ext uri="{BB962C8B-B14F-4D97-AF65-F5344CB8AC3E}">
        <p14:creationId xmlns:p14="http://schemas.microsoft.com/office/powerpoint/2010/main" val="101997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2938448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14" imgW="395" imgH="394" progId="TCLayout.ActiveDocument.1">
                  <p:embed/>
                </p:oleObj>
              </mc:Choice>
              <mc:Fallback>
                <p:oleObj name="think-cell Slide" r:id="rId14" imgW="395" imgH="394" progId="TCLayout.ActiveDocument.1">
                  <p:embed/>
                  <p:pic>
                    <p:nvPicPr>
                      <p:cNvPr id="41" name="Object 40" hidden="1">
                        <a:extLst>
                          <a:ext uri="{FF2B5EF4-FFF2-40B4-BE49-F238E27FC236}">
                            <a16:creationId xmlns:a16="http://schemas.microsoft.com/office/drawing/2014/main" id="{4D4DB5E0-355E-4771-A79A-6F14290C193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p:txBody>
          <a:bodyPr vert="horz"/>
          <a:lstStyle/>
          <a:p>
            <a:pPr fontAlgn="base">
              <a:spcBef>
                <a:spcPts val="0"/>
              </a:spcBef>
              <a:spcAft>
                <a:spcPct val="0"/>
              </a:spcAft>
              <a:buClr>
                <a:srgbClr val="000000"/>
              </a:buClr>
              <a:buSzPct val="100000"/>
              <a:buFont typeface=""/>
            </a:pPr>
            <a:r>
              <a:rPr lang="en-US"/>
              <a:t>Large investment needs are driven by existing inefficiencies in infrastructure and growing pressure to decarbonize energy use</a:t>
            </a:r>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a:sym typeface="+mn-lt"/>
            </a:endParaRPr>
          </a:p>
        </p:txBody>
      </p:sp>
      <p:sp>
        <p:nvSpPr>
          <p:cNvPr id="364" name="RBContent364">
            <a:extLst>
              <a:ext uri="{FF2B5EF4-FFF2-40B4-BE49-F238E27FC236}">
                <a16:creationId xmlns:a16="http://schemas.microsoft.com/office/drawing/2014/main" id="{3BE5BBB9-19D1-4962-B6E8-24BF6C980D3F}"/>
              </a:ext>
            </a:extLst>
          </p:cNvPr>
          <p:cNvSpPr txBox="1">
            <a:spLocks/>
          </p:cNvSpPr>
          <p:nvPr/>
        </p:nvSpPr>
        <p:spPr>
          <a:xfrm>
            <a:off x="736600" y="2163119"/>
            <a:ext cx="5774374" cy="263149"/>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buFont typeface=""/>
            </a:pPr>
            <a:r>
              <a:rPr lang="en-US" sz="1900">
                <a:latin typeface="+mn-lt"/>
                <a:cs typeface="+mn-cs"/>
                <a:sym typeface="+mn-lt"/>
              </a:rPr>
              <a:t>Investment needs in energy infrastructure </a:t>
            </a:r>
            <a:r>
              <a:rPr lang="en-US" sz="1900" b="0">
                <a:latin typeface="+mn-lt"/>
                <a:cs typeface="+mn-cs"/>
                <a:sym typeface="+mn-lt"/>
              </a:rPr>
              <a:t>[USD bn]</a:t>
            </a:r>
          </a:p>
        </p:txBody>
      </p:sp>
      <p:sp>
        <p:nvSpPr>
          <p:cNvPr id="478" name="Rectangle 477">
            <a:extLst>
              <a:ext uri="{FF2B5EF4-FFF2-40B4-BE49-F238E27FC236}">
                <a16:creationId xmlns:a16="http://schemas.microsoft.com/office/drawing/2014/main" id="{AEEEA428-9841-4FB9-859A-F3BBEB6AF612}"/>
              </a:ext>
            </a:extLst>
          </p:cNvPr>
          <p:cNvSpPr/>
          <p:nvPr/>
        </p:nvSpPr>
        <p:spPr>
          <a:xfrm>
            <a:off x="6975477" y="2162197"/>
            <a:ext cx="2298512" cy="4257652"/>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7" name="Title77">
            <a:extLst>
              <a:ext uri="{FF2B5EF4-FFF2-40B4-BE49-F238E27FC236}">
                <a16:creationId xmlns:a16="http://schemas.microsoft.com/office/drawing/2014/main" id="{5F5FE679-E600-4207-9690-191459E1D45F}"/>
              </a:ext>
            </a:extLst>
          </p:cNvPr>
          <p:cNvSpPr txBox="1"/>
          <p:nvPr/>
        </p:nvSpPr>
        <p:spPr>
          <a:xfrm>
            <a:off x="7038975" y="2184357"/>
            <a:ext cx="2235013" cy="3347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buFont typeface=""/>
            </a:pPr>
            <a:r>
              <a:rPr lang="en-US" sz="1900" noProof="0">
                <a:solidFill>
                  <a:schemeClr val="bg1"/>
                </a:solidFill>
                <a:latin typeface="+mn-lt"/>
                <a:cs typeface="Arial Narrow" pitchFamily="34" charset="0"/>
              </a:rPr>
              <a:t>Key takeaways</a:t>
            </a:r>
          </a:p>
        </p:txBody>
      </p:sp>
      <p:cxnSp>
        <p:nvCxnSpPr>
          <p:cNvPr id="8" name="HorizontalLine8">
            <a:extLst>
              <a:ext uri="{FF2B5EF4-FFF2-40B4-BE49-F238E27FC236}">
                <a16:creationId xmlns:a16="http://schemas.microsoft.com/office/drawing/2014/main" id="{1D73FE94-E0B1-4754-941D-9B8DB84548E5}"/>
              </a:ext>
            </a:extLst>
          </p:cNvPr>
          <p:cNvCxnSpPr>
            <a:cxnSpLocks/>
          </p:cNvCxnSpPr>
          <p:nvPr/>
        </p:nvCxnSpPr>
        <p:spPr>
          <a:xfrm>
            <a:off x="7038975" y="2540480"/>
            <a:ext cx="2235013"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485" name="Subtitle">
            <a:extLst>
              <a:ext uri="{FF2B5EF4-FFF2-40B4-BE49-F238E27FC236}">
                <a16:creationId xmlns:a16="http://schemas.microsoft.com/office/drawing/2014/main" id="{0DFACB5F-6A38-4203-9B3B-2DCA092E1776}"/>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spcBef>
                <a:spcPts val="0"/>
              </a:spcBef>
              <a:buClr>
                <a:srgbClr val="000000"/>
              </a:buClr>
              <a:buSzPct val="100000"/>
              <a:buFont typeface=""/>
            </a:pPr>
            <a:r>
              <a:rPr lang="en-US" sz="2100" b="0">
                <a:solidFill>
                  <a:schemeClr val="tx2"/>
                </a:solidFill>
                <a:latin typeface="+mn-lt"/>
                <a:cs typeface="+mn-cs"/>
                <a:sym typeface="+mn-lt"/>
              </a:rPr>
              <a:t>Regional level – Summary of Investment Outlook</a:t>
            </a:r>
          </a:p>
        </p:txBody>
      </p:sp>
      <p:graphicFrame>
        <p:nvGraphicFramePr>
          <p:cNvPr id="44" name="Chart 43">
            <a:extLst>
              <a:ext uri="{FF2B5EF4-FFF2-40B4-BE49-F238E27FC236}">
                <a16:creationId xmlns:a16="http://schemas.microsoft.com/office/drawing/2014/main" id="{AA12D769-D51D-4BD2-878A-915B7C8EB6F7}"/>
              </a:ext>
            </a:extLst>
          </p:cNvPr>
          <p:cNvGraphicFramePr/>
          <p:nvPr>
            <p:custDataLst>
              <p:tags r:id="rId3"/>
            </p:custDataLst>
            <p:extLst>
              <p:ext uri="{D42A27DB-BD31-4B8C-83A1-F6EECF244321}">
                <p14:modId xmlns:p14="http://schemas.microsoft.com/office/powerpoint/2010/main" val="3330588572"/>
              </p:ext>
            </p:extLst>
          </p:nvPr>
        </p:nvGraphicFramePr>
        <p:xfrm>
          <a:off x="796925" y="3416300"/>
          <a:ext cx="2336800" cy="2336800"/>
        </p:xfrm>
        <a:graphic>
          <a:graphicData uri="http://schemas.openxmlformats.org/drawingml/2006/chart">
            <c:chart xmlns:c="http://schemas.openxmlformats.org/drawingml/2006/chart" xmlns:r="http://schemas.openxmlformats.org/officeDocument/2006/relationships" r:id="rId16"/>
          </a:graphicData>
        </a:graphic>
      </p:graphicFrame>
      <p:sp>
        <p:nvSpPr>
          <p:cNvPr id="286" name="Text Placeholder">
            <a:extLst>
              <a:ext uri="{FF2B5EF4-FFF2-40B4-BE49-F238E27FC236}">
                <a16:creationId xmlns:a16="http://schemas.microsoft.com/office/drawing/2014/main" id="{A2B00DD3-310B-498C-AFED-B5A17CCBA705}"/>
              </a:ext>
            </a:extLst>
          </p:cNvPr>
          <p:cNvSpPr>
            <a:spLocks noGrp="1"/>
          </p:cNvSpPr>
          <p:nvPr>
            <p:custDataLst>
              <p:tags r:id="rId4"/>
            </p:custDataLst>
          </p:nvPr>
        </p:nvSpPr>
        <p:spPr bwMode="auto">
          <a:xfrm>
            <a:off x="1673224" y="4275138"/>
            <a:ext cx="585788" cy="619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Clr>
                <a:srgbClr val="000000"/>
              </a:buClr>
              <a:buSzPct val="100000"/>
              <a:buFont typeface=""/>
            </a:pPr>
            <a:r>
              <a:rPr lang="en-US" altLang="en-US" sz="1500" b="1"/>
              <a:t>136-</a:t>
            </a:r>
            <a:br>
              <a:rPr lang="en-US" altLang="en-US" sz="1500" b="1"/>
            </a:br>
            <a:r>
              <a:rPr lang="en-US" altLang="en-US" sz="1500" b="1"/>
              <a:t>339 </a:t>
            </a:r>
            <a:r>
              <a:rPr lang="en-US" altLang="en-US" sz="1500" err="1"/>
              <a:t>billions</a:t>
            </a:r>
            <a:r>
              <a:rPr lang="en-US" altLang="en-US" sz="1500" baseline="30000" err="1"/>
              <a:t>1</a:t>
            </a:r>
            <a:r>
              <a:rPr lang="en-US" altLang="en-US" sz="1500" baseline="30000"/>
              <a:t>)</a:t>
            </a:r>
            <a:endParaRPr lang="en-US" sz="1500"/>
          </a:p>
        </p:txBody>
      </p:sp>
      <p:graphicFrame>
        <p:nvGraphicFramePr>
          <p:cNvPr id="45" name="Chart 44">
            <a:extLst>
              <a:ext uri="{FF2B5EF4-FFF2-40B4-BE49-F238E27FC236}">
                <a16:creationId xmlns:a16="http://schemas.microsoft.com/office/drawing/2014/main" id="{E30E1124-F653-452D-BC92-84B7D3F09278}"/>
              </a:ext>
            </a:extLst>
          </p:cNvPr>
          <p:cNvGraphicFramePr/>
          <p:nvPr>
            <p:custDataLst>
              <p:tags r:id="rId5"/>
            </p:custDataLst>
            <p:extLst>
              <p:ext uri="{D42A27DB-BD31-4B8C-83A1-F6EECF244321}">
                <p14:modId xmlns:p14="http://schemas.microsoft.com/office/powerpoint/2010/main" val="2055873593"/>
              </p:ext>
            </p:extLst>
          </p:nvPr>
        </p:nvGraphicFramePr>
        <p:xfrm>
          <a:off x="4051300" y="3416300"/>
          <a:ext cx="2339975" cy="2336800"/>
        </p:xfrm>
        <a:graphic>
          <a:graphicData uri="http://schemas.openxmlformats.org/drawingml/2006/chart">
            <c:chart xmlns:c="http://schemas.openxmlformats.org/drawingml/2006/chart" xmlns:r="http://schemas.openxmlformats.org/officeDocument/2006/relationships" r:id="rId17"/>
          </a:graphicData>
        </a:graphic>
      </p:graphicFrame>
      <p:sp>
        <p:nvSpPr>
          <p:cNvPr id="340" name="Text Placeholder">
            <a:extLst>
              <a:ext uri="{FF2B5EF4-FFF2-40B4-BE49-F238E27FC236}">
                <a16:creationId xmlns:a16="http://schemas.microsoft.com/office/drawing/2014/main" id="{11444D60-5CA1-48FA-93BD-65635D000BC8}"/>
              </a:ext>
            </a:extLst>
          </p:cNvPr>
          <p:cNvSpPr>
            <a:spLocks noGrp="1"/>
          </p:cNvSpPr>
          <p:nvPr>
            <p:custDataLst>
              <p:tags r:id="rId6"/>
            </p:custDataLst>
          </p:nvPr>
        </p:nvSpPr>
        <p:spPr bwMode="auto">
          <a:xfrm>
            <a:off x="3990975" y="4481513"/>
            <a:ext cx="2459038" cy="4127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buClr>
                <a:srgbClr val="000000"/>
              </a:buClr>
              <a:buSzPct val="100000"/>
              <a:buFont typeface=""/>
            </a:pPr>
            <a:r>
              <a:rPr lang="en-US" altLang="en-US" sz="1500" b="1"/>
              <a:t>2,934-3,836</a:t>
            </a:r>
            <a:br>
              <a:rPr lang="en-US" altLang="en-US" sz="1500" b="1"/>
            </a:br>
            <a:r>
              <a:rPr lang="en-US" altLang="en-US" sz="1500" err="1"/>
              <a:t>billions</a:t>
            </a:r>
            <a:r>
              <a:rPr lang="en-US" altLang="en-US" sz="1500" baseline="30000" err="1"/>
              <a:t>1</a:t>
            </a:r>
            <a:r>
              <a:rPr lang="en-US" altLang="en-US" sz="1500" baseline="30000"/>
              <a:t>)</a:t>
            </a:r>
            <a:endParaRPr lang="en-US" sz="1500"/>
          </a:p>
        </p:txBody>
      </p:sp>
      <p:sp>
        <p:nvSpPr>
          <p:cNvPr id="460" name="Rectangle 459">
            <a:extLst>
              <a:ext uri="{FF2B5EF4-FFF2-40B4-BE49-F238E27FC236}">
                <a16:creationId xmlns:a16="http://schemas.microsoft.com/office/drawing/2014/main" id="{9F5518DC-5979-4382-8988-592EF6AB212C}"/>
              </a:ext>
            </a:extLst>
          </p:cNvPr>
          <p:cNvSpPr/>
          <p:nvPr>
            <p:custDataLst>
              <p:tags r:id="rId7"/>
            </p:custDataLst>
          </p:nvPr>
        </p:nvSpPr>
        <p:spPr bwMode="auto">
          <a:xfrm>
            <a:off x="2089150" y="6037263"/>
            <a:ext cx="138113" cy="138113"/>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458" name="Rectangle 457">
            <a:extLst>
              <a:ext uri="{FF2B5EF4-FFF2-40B4-BE49-F238E27FC236}">
                <a16:creationId xmlns:a16="http://schemas.microsoft.com/office/drawing/2014/main" id="{E20E21E2-7B6B-4F86-A022-C61F453ABF48}"/>
              </a:ext>
            </a:extLst>
          </p:cNvPr>
          <p:cNvSpPr/>
          <p:nvPr>
            <p:custDataLst>
              <p:tags r:id="rId8"/>
            </p:custDataLst>
          </p:nvPr>
        </p:nvSpPr>
        <p:spPr bwMode="auto">
          <a:xfrm>
            <a:off x="788988" y="6037263"/>
            <a:ext cx="138113" cy="138113"/>
          </a:xfrm>
          <a:prstGeom prst="rect">
            <a:avLst/>
          </a:prstGeom>
          <a:solidFill>
            <a:schemeClr val="accent5"/>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459" name="Rectangle 458">
            <a:extLst>
              <a:ext uri="{FF2B5EF4-FFF2-40B4-BE49-F238E27FC236}">
                <a16:creationId xmlns:a16="http://schemas.microsoft.com/office/drawing/2014/main" id="{BF15894A-BC52-4C27-A7D4-5AC713F6EF33}"/>
              </a:ext>
            </a:extLst>
          </p:cNvPr>
          <p:cNvSpPr/>
          <p:nvPr>
            <p:custDataLst>
              <p:tags r:id="rId9"/>
            </p:custDataLst>
          </p:nvPr>
        </p:nvSpPr>
        <p:spPr bwMode="auto">
          <a:xfrm>
            <a:off x="1590675" y="6037263"/>
            <a:ext cx="138113" cy="138113"/>
          </a:xfrm>
          <a:prstGeom prst="rect">
            <a:avLst/>
          </a:prstGeom>
          <a:solidFill>
            <a:schemeClr val="bg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454" name="Text Placeholder">
            <a:extLst>
              <a:ext uri="{FF2B5EF4-FFF2-40B4-BE49-F238E27FC236}">
                <a16:creationId xmlns:a16="http://schemas.microsoft.com/office/drawing/2014/main" id="{EABADDF4-18A5-4E63-86FE-35A453955BBD}"/>
              </a:ext>
            </a:extLst>
          </p:cNvPr>
          <p:cNvSpPr>
            <a:spLocks noGrp="1"/>
          </p:cNvSpPr>
          <p:nvPr>
            <p:custDataLst>
              <p:tags r:id="rId10"/>
            </p:custDataLst>
          </p:nvPr>
        </p:nvSpPr>
        <p:spPr bwMode="auto">
          <a:xfrm>
            <a:off x="977900" y="6046788"/>
            <a:ext cx="5111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Clr>
                <a:srgbClr val="000000"/>
              </a:buClr>
              <a:buSzPct val="100000"/>
              <a:buFont typeface=""/>
            </a:pPr>
            <a:fld id="{EFFF22C2-AC2A-481A-A748-66039CFCCF07}" type="datetime'''G''e''''''ne''''''r''''''''a''''ti''''o''n'''''''''''''">
              <a:rPr lang="en-US" altLang="en-US" sz="1000" smtClean="0"/>
              <a:pPr>
                <a:buClr>
                  <a:srgbClr val="000000"/>
                </a:buClr>
                <a:buSzPct val="100000"/>
                <a:buFont typeface=""/>
              </a:pPr>
              <a:t>Generation</a:t>
            </a:fld>
            <a:endParaRPr lang="en-US" sz="1000"/>
          </a:p>
        </p:txBody>
      </p:sp>
      <p:sp>
        <p:nvSpPr>
          <p:cNvPr id="447" name="Text Placeholder">
            <a:extLst>
              <a:ext uri="{FF2B5EF4-FFF2-40B4-BE49-F238E27FC236}">
                <a16:creationId xmlns:a16="http://schemas.microsoft.com/office/drawing/2014/main" id="{C8546013-80A4-4A58-AE08-E6913CDC0006}"/>
              </a:ext>
            </a:extLst>
          </p:cNvPr>
          <p:cNvSpPr>
            <a:spLocks noGrp="1"/>
          </p:cNvSpPr>
          <p:nvPr>
            <p:custDataLst>
              <p:tags r:id="rId11"/>
            </p:custDataLst>
          </p:nvPr>
        </p:nvSpPr>
        <p:spPr bwMode="auto">
          <a:xfrm>
            <a:off x="1779588" y="6046788"/>
            <a:ext cx="2079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Clr>
                <a:srgbClr val="000000"/>
              </a:buClr>
              <a:buSzPct val="100000"/>
              <a:buFont typeface=""/>
            </a:pPr>
            <a:fld id="{7AEE46B8-E085-4AE8-8882-7DCB37728D16}" type="datetime'''''''T''&amp;''''''''''''''''''''''D'''''''">
              <a:rPr lang="en-US" altLang="en-US" sz="1000" smtClean="0"/>
              <a:pPr>
                <a:buClr>
                  <a:srgbClr val="000000"/>
                </a:buClr>
                <a:buSzPct val="100000"/>
                <a:buFont typeface=""/>
              </a:pPr>
              <a:t>T&amp;D</a:t>
            </a:fld>
            <a:endParaRPr lang="en-US" sz="1000"/>
          </a:p>
        </p:txBody>
      </p:sp>
      <p:sp>
        <p:nvSpPr>
          <p:cNvPr id="455" name="Text Placeholder">
            <a:extLst>
              <a:ext uri="{FF2B5EF4-FFF2-40B4-BE49-F238E27FC236}">
                <a16:creationId xmlns:a16="http://schemas.microsoft.com/office/drawing/2014/main" id="{07532223-1B47-4E9F-91BE-1095A639C5A3}"/>
              </a:ext>
            </a:extLst>
          </p:cNvPr>
          <p:cNvSpPr>
            <a:spLocks noGrp="1"/>
          </p:cNvSpPr>
          <p:nvPr>
            <p:custDataLst>
              <p:tags r:id="rId12"/>
            </p:custDataLst>
          </p:nvPr>
        </p:nvSpPr>
        <p:spPr bwMode="auto">
          <a:xfrm>
            <a:off x="2278063" y="6046788"/>
            <a:ext cx="8032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buClr>
                <a:srgbClr val="000000"/>
              </a:buClr>
              <a:buSzPct val="100000"/>
              <a:buFont typeface=""/>
            </a:pPr>
            <a:fld id="{0A4BB678-C141-4EEC-8056-E1112CAABEB3}" type="datetime'E''''n''''e''rgy'''''''' ''E''''''ffic''ie''''nc''''''''''''y'">
              <a:rPr lang="en-US" altLang="en-US" sz="1000" smtClean="0"/>
              <a:pPr>
                <a:buClr>
                  <a:srgbClr val="000000"/>
                </a:buClr>
                <a:buSzPct val="100000"/>
                <a:buFont typeface=""/>
              </a:pPr>
              <a:t>Energy Efficiency</a:t>
            </a:fld>
            <a:endParaRPr lang="en-US" sz="1000"/>
          </a:p>
        </p:txBody>
      </p:sp>
      <p:sp>
        <p:nvSpPr>
          <p:cNvPr id="476" name="Source">
            <a:extLst>
              <a:ext uri="{FF2B5EF4-FFF2-40B4-BE49-F238E27FC236}">
                <a16:creationId xmlns:a16="http://schemas.microsoft.com/office/drawing/2014/main" id="{C0B1BE98-161E-47A7-9790-613A83ADFCC2}"/>
              </a:ext>
            </a:extLst>
          </p:cNvPr>
          <p:cNvSpPr txBox="1"/>
          <p:nvPr/>
        </p:nvSpPr>
        <p:spPr>
          <a:xfrm>
            <a:off x="738189" y="6710121"/>
            <a:ext cx="1152560" cy="124650"/>
          </a:xfrm>
          <a:prstGeom prst="rect">
            <a:avLst/>
          </a:prstGeom>
          <a:noFill/>
          <a:ln w="9525">
            <a:noFill/>
          </a:ln>
        </p:spPr>
        <p:txBody>
          <a:bodyPr vert="horz" wrap="none" lIns="0" tIns="0" rIns="0" bIns="0" rtlCol="0" anchor="b" anchorCtr="0">
            <a:spAutoFit/>
          </a:bodyPr>
          <a:lstStyle/>
          <a:p>
            <a:pPr>
              <a:lnSpc>
                <a:spcPct val="90000"/>
              </a:lnSpc>
              <a:spcBef>
                <a:spcPts val="0"/>
              </a:spcBef>
              <a:buClr>
                <a:srgbClr val="000000"/>
              </a:buClr>
              <a:buSzPct val="100000"/>
              <a:buFont typeface=""/>
            </a:pPr>
            <a:r>
              <a:rPr lang="en-US" sz="900" b="0">
                <a:solidFill>
                  <a:schemeClr val="tx1"/>
                </a:solidFill>
                <a:latin typeface="+mn-lt"/>
                <a:cs typeface="+mn-cs"/>
                <a:sym typeface="+mn-lt"/>
              </a:rPr>
              <a:t>Source: </a:t>
            </a:r>
            <a:r>
              <a:rPr lang="en-US" sz="900" b="0" err="1">
                <a:solidFill>
                  <a:schemeClr val="tx1"/>
                </a:solidFill>
                <a:latin typeface="+mn-lt"/>
                <a:cs typeface="+mn-cs"/>
                <a:sym typeface="+mn-lt"/>
              </a:rPr>
              <a:t>ILF</a:t>
            </a:r>
            <a:r>
              <a:rPr lang="en-US" sz="900" b="0">
                <a:latin typeface="+mn-lt"/>
                <a:sym typeface="+mn-lt"/>
              </a:rPr>
              <a:t>,</a:t>
            </a:r>
            <a:r>
              <a:rPr lang="en-US" sz="900" b="0">
                <a:solidFill>
                  <a:schemeClr val="tx1"/>
                </a:solidFill>
                <a:latin typeface="+mn-lt"/>
                <a:cs typeface="+mn-cs"/>
                <a:sym typeface="+mn-lt"/>
              </a:rPr>
              <a:t> Roland Berger</a:t>
            </a:r>
          </a:p>
        </p:txBody>
      </p:sp>
      <p:sp>
        <p:nvSpPr>
          <p:cNvPr id="477" name="Freeform 9">
            <a:extLst>
              <a:ext uri="{FF2B5EF4-FFF2-40B4-BE49-F238E27FC236}">
                <a16:creationId xmlns:a16="http://schemas.microsoft.com/office/drawing/2014/main" id="{EE1A5775-95E2-4F45-B5C3-1126C292C786}"/>
              </a:ext>
            </a:extLst>
          </p:cNvPr>
          <p:cNvSpPr>
            <a:spLocks noChangeAspect="1" noEditPoints="1"/>
          </p:cNvSpPr>
          <p:nvPr/>
        </p:nvSpPr>
        <p:spPr bwMode="auto">
          <a:xfrm>
            <a:off x="8943093" y="2210726"/>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37" name="Notes">
            <a:extLst>
              <a:ext uri="{FF2B5EF4-FFF2-40B4-BE49-F238E27FC236}">
                <a16:creationId xmlns:a16="http://schemas.microsoft.com/office/drawing/2014/main" id="{FB074EB5-8E02-421D-B4E7-A6C292CF5614}"/>
              </a:ext>
            </a:extLst>
          </p:cNvPr>
          <p:cNvSpPr txBox="1"/>
          <p:nvPr/>
        </p:nvSpPr>
        <p:spPr>
          <a:xfrm>
            <a:off x="738189" y="6417474"/>
            <a:ext cx="1768113" cy="138499"/>
          </a:xfrm>
          <a:prstGeom prst="rect">
            <a:avLst/>
          </a:prstGeom>
          <a:noFill/>
          <a:ln w="9525">
            <a:noFill/>
          </a:ln>
        </p:spPr>
        <p:txBody>
          <a:bodyPr vert="horz" wrap="none" lIns="0" tIns="0" rIns="0" bIns="0" rtlCol="0" anchor="b" anchorCtr="0">
            <a:spAutoFit/>
          </a:bodyPr>
          <a:lstStyle/>
          <a:p>
            <a:pPr>
              <a:lnSpc>
                <a:spcPct val="90000"/>
              </a:lnSpc>
              <a:spcBef>
                <a:spcPts val="0"/>
              </a:spcBef>
              <a:buClr>
                <a:srgbClr val="000000"/>
              </a:buClr>
              <a:buSzPct val="100000"/>
              <a:buFont typeface=""/>
            </a:pPr>
            <a:r>
              <a:rPr lang="en-US" sz="1000" b="0">
                <a:solidFill>
                  <a:schemeClr val="tx1"/>
                </a:solidFill>
                <a:latin typeface="+mn-lt"/>
                <a:cs typeface="+mn-cs"/>
                <a:sym typeface="+mn-lt"/>
              </a:rPr>
              <a:t>1) Range due to scenario differences  </a:t>
            </a:r>
          </a:p>
        </p:txBody>
      </p:sp>
      <p:grpSp>
        <p:nvGrpSpPr>
          <p:cNvPr id="24" name="Group 23">
            <a:extLst>
              <a:ext uri="{FF2B5EF4-FFF2-40B4-BE49-F238E27FC236}">
                <a16:creationId xmlns:a16="http://schemas.microsoft.com/office/drawing/2014/main" id="{A221F9C6-38BE-4087-A1CB-5E27735FF87D}"/>
              </a:ext>
            </a:extLst>
          </p:cNvPr>
          <p:cNvGrpSpPr/>
          <p:nvPr/>
        </p:nvGrpSpPr>
        <p:grpSpPr>
          <a:xfrm>
            <a:off x="885825" y="2882900"/>
            <a:ext cx="2710341" cy="377825"/>
            <a:chOff x="885825" y="2882900"/>
            <a:chExt cx="2710341" cy="377825"/>
          </a:xfrm>
        </p:grpSpPr>
        <p:sp>
          <p:nvSpPr>
            <p:cNvPr id="481" name="Title44">
              <a:extLst>
                <a:ext uri="{FF2B5EF4-FFF2-40B4-BE49-F238E27FC236}">
                  <a16:creationId xmlns:a16="http://schemas.microsoft.com/office/drawing/2014/main" id="{C851DE8A-3223-467C-BD5F-18BED3CDA8E6}"/>
                </a:ext>
              </a:extLst>
            </p:cNvPr>
            <p:cNvSpPr txBox="1"/>
            <p:nvPr/>
          </p:nvSpPr>
          <p:spPr>
            <a:xfrm>
              <a:off x="1521303" y="2904421"/>
              <a:ext cx="2074863"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buFont typeface=""/>
              </a:pPr>
              <a:r>
                <a:rPr lang="en-US" sz="1700" noProof="0" err="1">
                  <a:solidFill>
                    <a:srgbClr val="000000"/>
                  </a:solidFill>
                  <a:latin typeface="+mn-lt"/>
                  <a:cs typeface="Arial Narrow" pitchFamily="34" charset="0"/>
                </a:rPr>
                <a:t>CAREC</a:t>
              </a:r>
              <a:r>
                <a:rPr lang="en-US" sz="1700" noProof="0">
                  <a:solidFill>
                    <a:srgbClr val="000000"/>
                  </a:solidFill>
                  <a:latin typeface="+mn-lt"/>
                  <a:cs typeface="Arial Narrow" pitchFamily="34" charset="0"/>
                </a:rPr>
                <a:t> (without </a:t>
              </a:r>
              <a:r>
                <a:rPr lang="en-US" sz="1700">
                  <a:solidFill>
                    <a:srgbClr val="000000"/>
                  </a:solidFill>
                  <a:latin typeface="+mn-lt"/>
                  <a:cs typeface="Arial Narrow" pitchFamily="34" charset="0"/>
                </a:rPr>
                <a:t>PRC)</a:t>
              </a:r>
              <a:endParaRPr lang="en-US" sz="1700" noProof="0">
                <a:solidFill>
                  <a:srgbClr val="000000"/>
                </a:solidFill>
                <a:latin typeface="+mn-lt"/>
                <a:cs typeface="Arial Narrow" pitchFamily="34" charset="0"/>
              </a:endParaRPr>
            </a:p>
          </p:txBody>
        </p:sp>
        <p:cxnSp>
          <p:nvCxnSpPr>
            <p:cNvPr id="482" name="HorizontalLine5">
              <a:extLst>
                <a:ext uri="{FF2B5EF4-FFF2-40B4-BE49-F238E27FC236}">
                  <a16:creationId xmlns:a16="http://schemas.microsoft.com/office/drawing/2014/main" id="{FC21683A-CDC7-4F4A-97F7-1FCCAA5B6076}"/>
                </a:ext>
              </a:extLst>
            </p:cNvPr>
            <p:cNvCxnSpPr>
              <a:cxnSpLocks/>
            </p:cNvCxnSpPr>
            <p:nvPr/>
          </p:nvCxnSpPr>
          <p:spPr>
            <a:xfrm>
              <a:off x="885825" y="3260725"/>
              <a:ext cx="2520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pic>
          <p:nvPicPr>
            <p:cNvPr id="38" name="Picture 4" descr="Результат пошуку зображень за запитом carec logo transparent">
              <a:extLst>
                <a:ext uri="{FF2B5EF4-FFF2-40B4-BE49-F238E27FC236}">
                  <a16:creationId xmlns:a16="http://schemas.microsoft.com/office/drawing/2014/main" id="{0B118E4C-055F-4126-833A-A7995CA4C4A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5825" y="2882900"/>
              <a:ext cx="465495" cy="3206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7720AEBE-ACFA-4444-BA16-670DB917DD9B}"/>
              </a:ext>
            </a:extLst>
          </p:cNvPr>
          <p:cNvGrpSpPr/>
          <p:nvPr/>
        </p:nvGrpSpPr>
        <p:grpSpPr>
          <a:xfrm>
            <a:off x="3990974" y="2882900"/>
            <a:ext cx="2695576" cy="377825"/>
            <a:chOff x="3990974" y="2882900"/>
            <a:chExt cx="2695576" cy="377825"/>
          </a:xfrm>
        </p:grpSpPr>
        <p:sp>
          <p:nvSpPr>
            <p:cNvPr id="487" name="Title44">
              <a:extLst>
                <a:ext uri="{FF2B5EF4-FFF2-40B4-BE49-F238E27FC236}">
                  <a16:creationId xmlns:a16="http://schemas.microsoft.com/office/drawing/2014/main" id="{C52A1F75-E56B-43A5-A5D4-B7CBC9B4A1A8}"/>
                </a:ext>
              </a:extLst>
            </p:cNvPr>
            <p:cNvSpPr txBox="1"/>
            <p:nvPr/>
          </p:nvSpPr>
          <p:spPr>
            <a:xfrm>
              <a:off x="4610641" y="2932301"/>
              <a:ext cx="2075909"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buFont typeface=""/>
              </a:pPr>
              <a:r>
                <a:rPr lang="en-US" sz="1700" noProof="0" err="1">
                  <a:solidFill>
                    <a:srgbClr val="000000"/>
                  </a:solidFill>
                  <a:latin typeface="+mn-lt"/>
                  <a:cs typeface="Arial Narrow" pitchFamily="34" charset="0"/>
                </a:rPr>
                <a:t>CAREC</a:t>
              </a:r>
              <a:r>
                <a:rPr lang="en-US" sz="1700" noProof="0">
                  <a:solidFill>
                    <a:srgbClr val="000000"/>
                  </a:solidFill>
                  <a:latin typeface="+mn-lt"/>
                  <a:cs typeface="Arial Narrow" pitchFamily="34" charset="0"/>
                </a:rPr>
                <a:t> (with PRC)</a:t>
              </a:r>
            </a:p>
          </p:txBody>
        </p:sp>
        <p:cxnSp>
          <p:nvCxnSpPr>
            <p:cNvPr id="488" name="HorizontalLine5">
              <a:extLst>
                <a:ext uri="{FF2B5EF4-FFF2-40B4-BE49-F238E27FC236}">
                  <a16:creationId xmlns:a16="http://schemas.microsoft.com/office/drawing/2014/main" id="{D95241DA-8A65-4E9A-979C-C9196837C2B9}"/>
                </a:ext>
              </a:extLst>
            </p:cNvPr>
            <p:cNvCxnSpPr/>
            <p:nvPr/>
          </p:nvCxnSpPr>
          <p:spPr>
            <a:xfrm>
              <a:off x="3990974" y="3260725"/>
              <a:ext cx="25200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pic>
          <p:nvPicPr>
            <p:cNvPr id="39" name="Picture 4" descr="Результат пошуку зображень за запитом carec logo transparent">
              <a:extLst>
                <a:ext uri="{FF2B5EF4-FFF2-40B4-BE49-F238E27FC236}">
                  <a16:creationId xmlns:a16="http://schemas.microsoft.com/office/drawing/2014/main" id="{4A45AD25-811C-47F0-996F-0553B09D3A57}"/>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990975" y="2882900"/>
              <a:ext cx="464742" cy="320015"/>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rbStamp_Illustrative">
            <a:extLst>
              <a:ext uri="{FF2B5EF4-FFF2-40B4-BE49-F238E27FC236}">
                <a16:creationId xmlns:a16="http://schemas.microsoft.com/office/drawing/2014/main" id="{581EFF58-0E5A-4ECA-B71F-E54314217789}"/>
              </a:ext>
            </a:extLst>
          </p:cNvPr>
          <p:cNvSpPr txBox="1"/>
          <p:nvPr/>
        </p:nvSpPr>
        <p:spPr>
          <a:xfrm>
            <a:off x="7016262" y="1712535"/>
            <a:ext cx="1628611"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buFont typeface=""/>
            </a:pPr>
            <a:r>
              <a:rPr lang="en-US">
                <a:solidFill>
                  <a:schemeClr val="accent6"/>
                </a:solidFill>
                <a:latin typeface="+mn-lt"/>
                <a:cs typeface="Arial Narrow" pitchFamily="34" charset="0"/>
              </a:rPr>
              <a:t>In cooperation with ILF</a:t>
            </a:r>
            <a:endParaRPr lang="uk-UA" noProof="0">
              <a:solidFill>
                <a:schemeClr val="accent6"/>
              </a:solidFill>
              <a:latin typeface="+mn-lt"/>
              <a:cs typeface="Arial Narrow" pitchFamily="34" charset="0"/>
            </a:endParaRPr>
          </a:p>
        </p:txBody>
      </p:sp>
      <p:pic>
        <p:nvPicPr>
          <p:cNvPr id="46" name="Picture 13">
            <a:extLst>
              <a:ext uri="{FF2B5EF4-FFF2-40B4-BE49-F238E27FC236}">
                <a16:creationId xmlns:a16="http://schemas.microsoft.com/office/drawing/2014/main" id="{6E364C21-0951-4ACF-9E0A-1A7ECF49323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
        <p:nvSpPr>
          <p:cNvPr id="52" name="RBContent482">
            <a:extLst>
              <a:ext uri="{FF2B5EF4-FFF2-40B4-BE49-F238E27FC236}">
                <a16:creationId xmlns:a16="http://schemas.microsoft.com/office/drawing/2014/main" id="{9BEE200C-79DE-4147-8BFC-5A4AB8899177}"/>
              </a:ext>
            </a:extLst>
          </p:cNvPr>
          <p:cNvSpPr txBox="1">
            <a:spLocks/>
          </p:cNvSpPr>
          <p:nvPr/>
        </p:nvSpPr>
        <p:spPr>
          <a:xfrm>
            <a:off x="7035800" y="2678682"/>
            <a:ext cx="2183304" cy="3600986"/>
          </a:xfrm>
          <a:prstGeom prst="rect">
            <a:avLst/>
          </a:prstGeom>
          <a:noFill/>
          <a:ln w="9525">
            <a:noFill/>
          </a:ln>
        </p:spPr>
        <p:txBody>
          <a:bodyPr vert="horz" wrap="square" lIns="0" tIns="0" rIns="0" bIns="0" rtlCol="0">
            <a:spAutoFit/>
          </a:bodyPr>
          <a:lstStyle/>
          <a:p>
            <a:pPr marL="120685" lvl="1" indent="-120685">
              <a:spcBef>
                <a:spcPts val="1200"/>
              </a:spcBef>
              <a:buSzPct val="100000"/>
              <a:buFont typeface="Arial Narrow" panose="020B0606020202030204" pitchFamily="34" charset="0"/>
              <a:buChar char="&gt;"/>
            </a:pPr>
            <a:r>
              <a:rPr lang="en-US" sz="1700" b="0">
                <a:solidFill>
                  <a:schemeClr val="bg1"/>
                </a:solidFill>
              </a:rPr>
              <a:t>Substantial opportunities for investment from: </a:t>
            </a:r>
          </a:p>
          <a:p>
            <a:pPr marL="252685" lvl="2" indent="-122571">
              <a:spcBef>
                <a:spcPts val="1200"/>
              </a:spcBef>
              <a:buSzPct val="100000"/>
              <a:buFont typeface="Arial Narrow" panose="020B0606020202030204" pitchFamily="34" charset="0"/>
              <a:buChar char="–"/>
            </a:pPr>
            <a:r>
              <a:rPr lang="en-US" sz="1700" b="0">
                <a:solidFill>
                  <a:schemeClr val="bg1"/>
                </a:solidFill>
              </a:rPr>
              <a:t>Significant technical </a:t>
            </a:r>
            <a:r>
              <a:rPr lang="en-US" sz="1700">
                <a:solidFill>
                  <a:schemeClr val="bg1"/>
                </a:solidFill>
              </a:rPr>
              <a:t>potential </a:t>
            </a:r>
            <a:r>
              <a:rPr lang="en-US" sz="1700" b="0">
                <a:solidFill>
                  <a:schemeClr val="bg1"/>
                </a:solidFill>
              </a:rPr>
              <a:t>of </a:t>
            </a:r>
            <a:r>
              <a:rPr lang="en-US" sz="1700">
                <a:solidFill>
                  <a:schemeClr val="bg1"/>
                </a:solidFill>
              </a:rPr>
              <a:t>renewable</a:t>
            </a:r>
            <a:r>
              <a:rPr lang="en-US" sz="1700" b="0">
                <a:solidFill>
                  <a:schemeClr val="bg1"/>
                </a:solidFill>
              </a:rPr>
              <a:t> energy sources</a:t>
            </a:r>
          </a:p>
          <a:p>
            <a:pPr marL="252685" lvl="2" indent="-122571">
              <a:spcBef>
                <a:spcPts val="1200"/>
              </a:spcBef>
              <a:buSzPct val="100000"/>
              <a:buFont typeface="Arial Narrow" panose="020B0606020202030204" pitchFamily="34" charset="0"/>
              <a:buChar char="–"/>
            </a:pPr>
            <a:r>
              <a:rPr lang="en-US" sz="1700" b="0">
                <a:solidFill>
                  <a:schemeClr val="bg1"/>
                </a:solidFill>
              </a:rPr>
              <a:t>Need for </a:t>
            </a:r>
            <a:r>
              <a:rPr lang="en-US" sz="1700">
                <a:solidFill>
                  <a:schemeClr val="bg1"/>
                </a:solidFill>
              </a:rPr>
              <a:t>modernization in upstream and midstream </a:t>
            </a:r>
            <a:r>
              <a:rPr lang="en-US" sz="1700" err="1">
                <a:solidFill>
                  <a:schemeClr val="bg1"/>
                </a:solidFill>
              </a:rPr>
              <a:t>infrast</a:t>
            </a:r>
            <a:r>
              <a:rPr lang="en-US" sz="1700">
                <a:solidFill>
                  <a:schemeClr val="bg1"/>
                </a:solidFill>
              </a:rPr>
              <a:t>.</a:t>
            </a:r>
            <a:endParaRPr lang="en-US" sz="1700" b="0">
              <a:solidFill>
                <a:schemeClr val="bg1"/>
              </a:solidFill>
            </a:endParaRPr>
          </a:p>
          <a:p>
            <a:pPr marL="252685" lvl="2" indent="-122571">
              <a:spcBef>
                <a:spcPts val="1200"/>
              </a:spcBef>
              <a:buSzPct val="100000"/>
              <a:buFont typeface="Arial Narrow" panose="020B0606020202030204" pitchFamily="34" charset="0"/>
              <a:buChar char="–"/>
            </a:pPr>
            <a:r>
              <a:rPr lang="en-US" sz="1700">
                <a:solidFill>
                  <a:schemeClr val="bg1"/>
                </a:solidFill>
              </a:rPr>
              <a:t>Required efficiency improvements </a:t>
            </a:r>
            <a:r>
              <a:rPr lang="en-US" sz="1700" b="0">
                <a:solidFill>
                  <a:schemeClr val="bg1"/>
                </a:solidFill>
              </a:rPr>
              <a:t>in energy consumption</a:t>
            </a:r>
            <a:endParaRPr lang="uk-UA" sz="1700" b="0">
              <a:solidFill>
                <a:schemeClr val="bg1"/>
              </a:solidFill>
            </a:endParaRPr>
          </a:p>
        </p:txBody>
      </p:sp>
      <p:sp>
        <p:nvSpPr>
          <p:cNvPr id="49" name="RbNavigator">
            <a:extLst>
              <a:ext uri="{FF2B5EF4-FFF2-40B4-BE49-F238E27FC236}">
                <a16:creationId xmlns:a16="http://schemas.microsoft.com/office/drawing/2014/main" id="{1947B41E-4D75-4C77-998B-D899704FA185}"/>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50" name="RbSticker">
            <a:extLst>
              <a:ext uri="{FF2B5EF4-FFF2-40B4-BE49-F238E27FC236}">
                <a16:creationId xmlns:a16="http://schemas.microsoft.com/office/drawing/2014/main" id="{6BF3816A-F47A-42FE-BC37-AABEBF3DB338}"/>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Tree>
    <p:extLst>
      <p:ext uri="{BB962C8B-B14F-4D97-AF65-F5344CB8AC3E}">
        <p14:creationId xmlns:p14="http://schemas.microsoft.com/office/powerpoint/2010/main" val="19744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891826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34" imgW="395" imgH="394" progId="TCLayout.ActiveDocument.1">
                  <p:embed/>
                </p:oleObj>
              </mc:Choice>
              <mc:Fallback>
                <p:oleObj name="think-cell Slide" r:id="rId34" imgW="395" imgH="394" progId="TCLayout.ActiveDocument.1">
                  <p:embed/>
                  <p:pic>
                    <p:nvPicPr>
                      <p:cNvPr id="41" name="Object 40" hidden="1">
                        <a:extLst>
                          <a:ext uri="{FF2B5EF4-FFF2-40B4-BE49-F238E27FC236}">
                            <a16:creationId xmlns:a16="http://schemas.microsoft.com/office/drawing/2014/main" id="{4D4DB5E0-355E-4771-A79A-6F14290C1935}"/>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p:txBody>
          <a:bodyPr vert="horz"/>
          <a:lstStyle/>
          <a:p>
            <a:r>
              <a:rPr lang="en-US"/>
              <a:t>Scenarios showcase potential energy-related emission curves in light of climate-related commitments of each country </a:t>
            </a:r>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a:sym typeface="+mn-lt"/>
            </a:endParaRPr>
          </a:p>
        </p:txBody>
      </p:sp>
      <p:sp>
        <p:nvSpPr>
          <p:cNvPr id="478" name="Rectangle 477">
            <a:extLst>
              <a:ext uri="{FF2B5EF4-FFF2-40B4-BE49-F238E27FC236}">
                <a16:creationId xmlns:a16="http://schemas.microsoft.com/office/drawing/2014/main" id="{AEEEA428-9841-4FB9-859A-F3BBEB6AF612}"/>
              </a:ext>
            </a:extLst>
          </p:cNvPr>
          <p:cNvSpPr/>
          <p:nvPr/>
        </p:nvSpPr>
        <p:spPr>
          <a:xfrm>
            <a:off x="6975477" y="2162197"/>
            <a:ext cx="2298512" cy="4257652"/>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7" name="Title77">
            <a:extLst>
              <a:ext uri="{FF2B5EF4-FFF2-40B4-BE49-F238E27FC236}">
                <a16:creationId xmlns:a16="http://schemas.microsoft.com/office/drawing/2014/main" id="{5F5FE679-E600-4207-9690-191459E1D45F}"/>
              </a:ext>
            </a:extLst>
          </p:cNvPr>
          <p:cNvSpPr txBox="1"/>
          <p:nvPr/>
        </p:nvSpPr>
        <p:spPr>
          <a:xfrm>
            <a:off x="7038975" y="2184357"/>
            <a:ext cx="2235013" cy="3347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900" noProof="0">
                <a:solidFill>
                  <a:schemeClr val="bg1"/>
                </a:solidFill>
                <a:latin typeface="+mn-lt"/>
                <a:cs typeface="Arial Narrow" pitchFamily="34" charset="0"/>
              </a:rPr>
              <a:t>Key takeaways</a:t>
            </a:r>
          </a:p>
        </p:txBody>
      </p:sp>
      <p:cxnSp>
        <p:nvCxnSpPr>
          <p:cNvPr id="8" name="HorizontalLine8">
            <a:extLst>
              <a:ext uri="{FF2B5EF4-FFF2-40B4-BE49-F238E27FC236}">
                <a16:creationId xmlns:a16="http://schemas.microsoft.com/office/drawing/2014/main" id="{1D73FE94-E0B1-4754-941D-9B8DB84548E5}"/>
              </a:ext>
            </a:extLst>
          </p:cNvPr>
          <p:cNvCxnSpPr>
            <a:cxnSpLocks/>
          </p:cNvCxnSpPr>
          <p:nvPr/>
        </p:nvCxnSpPr>
        <p:spPr>
          <a:xfrm>
            <a:off x="7038975" y="2540480"/>
            <a:ext cx="2235013"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484" name="RBContent482">
            <a:extLst>
              <a:ext uri="{FF2B5EF4-FFF2-40B4-BE49-F238E27FC236}">
                <a16:creationId xmlns:a16="http://schemas.microsoft.com/office/drawing/2014/main" id="{379E3389-D8E1-493B-B6D3-430DA93D444F}"/>
              </a:ext>
            </a:extLst>
          </p:cNvPr>
          <p:cNvSpPr txBox="1">
            <a:spLocks/>
          </p:cNvSpPr>
          <p:nvPr/>
        </p:nvSpPr>
        <p:spPr>
          <a:xfrm>
            <a:off x="7035800" y="2705100"/>
            <a:ext cx="2183304" cy="3708708"/>
          </a:xfrm>
          <a:prstGeom prst="rect">
            <a:avLst/>
          </a:prstGeom>
          <a:noFill/>
          <a:ln w="9525">
            <a:noFill/>
          </a:ln>
        </p:spPr>
        <p:txBody>
          <a:bodyPr vert="horz" wrap="square" lIns="0" tIns="0" rIns="0" bIns="0" rtlCol="0">
            <a:spAutoFit/>
          </a:bodyPr>
          <a:lstStyle/>
          <a:p>
            <a:pPr marL="120685" lvl="1" indent="-120685">
              <a:spcBef>
                <a:spcPts val="1200"/>
              </a:spcBef>
              <a:buSzPct val="100000"/>
              <a:buFont typeface="Arial Narrow" panose="020B0606020202030204" pitchFamily="34" charset="0"/>
              <a:buChar char="&gt;"/>
            </a:pPr>
            <a:r>
              <a:rPr lang="en-GB" sz="1700" b="0" err="1">
                <a:solidFill>
                  <a:schemeClr val="accent1"/>
                </a:solidFill>
              </a:rPr>
              <a:t>CAREC</a:t>
            </a:r>
            <a:r>
              <a:rPr lang="en-GB" sz="1700" b="0">
                <a:solidFill>
                  <a:schemeClr val="accent1"/>
                </a:solidFill>
              </a:rPr>
              <a:t> countries </a:t>
            </a:r>
            <a:r>
              <a:rPr lang="en-GB" sz="1700">
                <a:solidFill>
                  <a:schemeClr val="accent1"/>
                </a:solidFill>
              </a:rPr>
              <a:t>commit to act </a:t>
            </a:r>
            <a:r>
              <a:rPr lang="en-GB" sz="1700" b="0">
                <a:solidFill>
                  <a:schemeClr val="accent1"/>
                </a:solidFill>
              </a:rPr>
              <a:t>by submitting </a:t>
            </a:r>
            <a:r>
              <a:rPr lang="en-GB" sz="1700" b="0" err="1">
                <a:solidFill>
                  <a:schemeClr val="accent1"/>
                </a:solidFill>
              </a:rPr>
              <a:t>NDCs</a:t>
            </a:r>
            <a:r>
              <a:rPr lang="en-GB" sz="1700" b="0">
                <a:solidFill>
                  <a:schemeClr val="accent1"/>
                </a:solidFill>
              </a:rPr>
              <a:t> (pre- and post </a:t>
            </a:r>
            <a:r>
              <a:rPr lang="en-GB" sz="1700" b="0" err="1">
                <a:solidFill>
                  <a:schemeClr val="accent1"/>
                </a:solidFill>
              </a:rPr>
              <a:t>COP26</a:t>
            </a:r>
            <a:r>
              <a:rPr lang="en-GB" sz="1700" b="0">
                <a:solidFill>
                  <a:schemeClr val="accent1"/>
                </a:solidFill>
              </a:rPr>
              <a:t>) </a:t>
            </a:r>
          </a:p>
          <a:p>
            <a:pPr marL="120685" lvl="1" indent="-120685">
              <a:spcBef>
                <a:spcPts val="1200"/>
              </a:spcBef>
              <a:buSzPct val="100000"/>
              <a:buFont typeface="Arial Narrow" panose="020B0606020202030204" pitchFamily="34" charset="0"/>
              <a:buChar char="&gt;"/>
            </a:pPr>
            <a:r>
              <a:rPr lang="en-GB" sz="1700">
                <a:solidFill>
                  <a:schemeClr val="accent1"/>
                </a:solidFill>
              </a:rPr>
              <a:t>Green growth scenario shows </a:t>
            </a:r>
            <a:r>
              <a:rPr lang="en-GB" sz="1700" b="0">
                <a:solidFill>
                  <a:schemeClr val="accent1"/>
                </a:solidFill>
              </a:rPr>
              <a:t>a potential pathway to global climate change targets </a:t>
            </a:r>
            <a:r>
              <a:rPr lang="en-GB" sz="1700">
                <a:solidFill>
                  <a:schemeClr val="accent1"/>
                </a:solidFill>
              </a:rPr>
              <a:t> </a:t>
            </a:r>
          </a:p>
          <a:p>
            <a:pPr marL="120685" lvl="1" indent="-120685">
              <a:spcBef>
                <a:spcPts val="1200"/>
              </a:spcBef>
              <a:buSzPct val="100000"/>
              <a:buFont typeface="Arial Narrow" panose="020B0606020202030204" pitchFamily="34" charset="0"/>
              <a:buChar char="&gt;"/>
            </a:pPr>
            <a:r>
              <a:rPr lang="en-GB" sz="1700" b="0">
                <a:solidFill>
                  <a:schemeClr val="accent1"/>
                </a:solidFill>
              </a:rPr>
              <a:t>Green growth </a:t>
            </a:r>
            <a:r>
              <a:rPr lang="en-GB" sz="1700">
                <a:solidFill>
                  <a:schemeClr val="accent1"/>
                </a:solidFill>
              </a:rPr>
              <a:t>limits increases </a:t>
            </a:r>
            <a:r>
              <a:rPr lang="en-GB" sz="1700" b="0">
                <a:solidFill>
                  <a:schemeClr val="accent1"/>
                </a:solidFill>
              </a:rPr>
              <a:t>in energy-related emissions or </a:t>
            </a:r>
            <a:r>
              <a:rPr lang="en-GB" sz="1700">
                <a:solidFill>
                  <a:schemeClr val="accent1"/>
                </a:solidFill>
              </a:rPr>
              <a:t>even decreases emissions</a:t>
            </a:r>
            <a:r>
              <a:rPr lang="en-GB" sz="1700" b="0">
                <a:solidFill>
                  <a:schemeClr val="accent1"/>
                </a:solidFill>
              </a:rPr>
              <a:t>, if PRC is included</a:t>
            </a:r>
            <a:endParaRPr lang="uk-UA" sz="1700" b="0">
              <a:solidFill>
                <a:schemeClr val="accent1"/>
              </a:solidFill>
            </a:endParaRPr>
          </a:p>
        </p:txBody>
      </p:sp>
      <p:sp>
        <p:nvSpPr>
          <p:cNvPr id="485" name="Subtitle">
            <a:extLst>
              <a:ext uri="{FF2B5EF4-FFF2-40B4-BE49-F238E27FC236}">
                <a16:creationId xmlns:a16="http://schemas.microsoft.com/office/drawing/2014/main" id="{0DFACB5F-6A38-4203-9B3B-2DCA092E1776}"/>
              </a:ext>
            </a:extLst>
          </p:cNvPr>
          <p:cNvSpPr txBox="1">
            <a:spLocks/>
          </p:cNvSpPr>
          <p:nvPr/>
        </p:nvSpPr>
        <p:spPr>
          <a:xfrm>
            <a:off x="738000" y="1710000"/>
            <a:ext cx="853598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err="1">
                <a:solidFill>
                  <a:schemeClr val="tx2"/>
                </a:solidFill>
                <a:latin typeface="+mn-lt"/>
                <a:cs typeface="+mn-cs"/>
                <a:sym typeface="+mn-lt"/>
              </a:rPr>
              <a:t>CAREC</a:t>
            </a:r>
            <a:r>
              <a:rPr lang="en-US" sz="2100" b="0">
                <a:solidFill>
                  <a:schemeClr val="tx2"/>
                </a:solidFill>
                <a:latin typeface="+mn-lt"/>
                <a:cs typeface="+mn-cs"/>
                <a:sym typeface="+mn-lt"/>
              </a:rPr>
              <a:t> level – </a:t>
            </a:r>
            <a:r>
              <a:rPr lang="en-US" sz="2100" b="0" spc="-20">
                <a:solidFill>
                  <a:schemeClr val="tx2"/>
                </a:solidFill>
                <a:latin typeface="+mn-lt"/>
                <a:cs typeface="+mn-cs"/>
                <a:sym typeface="+mn-lt"/>
              </a:rPr>
              <a:t>Summary of Carbon emissions Outlook – </a:t>
            </a:r>
            <a:r>
              <a:rPr lang="en-US" sz="2100" b="0" spc="-20" err="1">
                <a:solidFill>
                  <a:schemeClr val="tx2"/>
                </a:solidFill>
                <a:latin typeface="+mn-lt"/>
                <a:cs typeface="+mn-cs"/>
                <a:sym typeface="+mn-lt"/>
              </a:rPr>
              <a:t>GHG</a:t>
            </a:r>
            <a:r>
              <a:rPr lang="en-US" sz="2100" b="0" spc="-20">
                <a:solidFill>
                  <a:schemeClr val="tx2"/>
                </a:solidFill>
                <a:latin typeface="+mn-lt"/>
                <a:cs typeface="+mn-cs"/>
                <a:sym typeface="+mn-lt"/>
              </a:rPr>
              <a:t> emissions [m ton CO</a:t>
            </a:r>
            <a:r>
              <a:rPr lang="en-US" sz="2100" b="0" spc="-20" baseline="-25000">
                <a:solidFill>
                  <a:schemeClr val="tx2"/>
                </a:solidFill>
                <a:latin typeface="+mn-lt"/>
                <a:cs typeface="+mn-cs"/>
                <a:sym typeface="+mn-lt"/>
              </a:rPr>
              <a:t>2 </a:t>
            </a:r>
            <a:r>
              <a:rPr lang="en-US" sz="2100" b="0" spc="-20">
                <a:solidFill>
                  <a:schemeClr val="tx2"/>
                </a:solidFill>
                <a:latin typeface="+mn-lt"/>
                <a:cs typeface="+mn-cs"/>
                <a:sym typeface="+mn-lt"/>
              </a:rPr>
              <a:t>eq]</a:t>
            </a:r>
          </a:p>
        </p:txBody>
      </p:sp>
      <p:sp>
        <p:nvSpPr>
          <p:cNvPr id="503" name="Source">
            <a:extLst>
              <a:ext uri="{FF2B5EF4-FFF2-40B4-BE49-F238E27FC236}">
                <a16:creationId xmlns:a16="http://schemas.microsoft.com/office/drawing/2014/main" id="{3C142F99-AA06-41B0-BCD1-794F0D523ED9}"/>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a:t>
            </a:r>
            <a:r>
              <a:rPr lang="en-US" sz="900" b="0">
                <a:latin typeface="+mn-lt"/>
                <a:sym typeface="+mn-lt"/>
              </a:rPr>
              <a:t>Roland Berger</a:t>
            </a:r>
            <a:endParaRPr lang="en-US" sz="900" b="0">
              <a:solidFill>
                <a:schemeClr val="tx1"/>
              </a:solidFill>
              <a:latin typeface="+mn-lt"/>
              <a:cs typeface="+mn-cs"/>
              <a:sym typeface="+mn-lt"/>
            </a:endParaRPr>
          </a:p>
        </p:txBody>
      </p:sp>
      <p:sp>
        <p:nvSpPr>
          <p:cNvPr id="505" name="Freeform 9">
            <a:extLst>
              <a:ext uri="{FF2B5EF4-FFF2-40B4-BE49-F238E27FC236}">
                <a16:creationId xmlns:a16="http://schemas.microsoft.com/office/drawing/2014/main" id="{0A105ED5-F5EB-48C9-94C6-E13B446422E3}"/>
              </a:ext>
            </a:extLst>
          </p:cNvPr>
          <p:cNvSpPr>
            <a:spLocks noChangeAspect="1" noEditPoints="1"/>
          </p:cNvSpPr>
          <p:nvPr/>
        </p:nvSpPr>
        <p:spPr bwMode="auto">
          <a:xfrm>
            <a:off x="8897373" y="2195486"/>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cxnSp>
        <p:nvCxnSpPr>
          <p:cNvPr id="88" name="Straight Connector 87">
            <a:extLst>
              <a:ext uri="{FF2B5EF4-FFF2-40B4-BE49-F238E27FC236}">
                <a16:creationId xmlns:a16="http://schemas.microsoft.com/office/drawing/2014/main" id="{BA4A2B0E-0B55-44C9-8A33-9E0C91CF8433}"/>
              </a:ext>
            </a:extLst>
          </p:cNvPr>
          <p:cNvCxnSpPr/>
          <p:nvPr>
            <p:custDataLst>
              <p:tags r:id="rId3"/>
            </p:custDataLst>
          </p:nvPr>
        </p:nvCxnSpPr>
        <p:spPr bwMode="auto">
          <a:xfrm flipH="1">
            <a:off x="1831975" y="5478463"/>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11161F01-69B8-4BE7-9695-F848A577EFA4}"/>
              </a:ext>
            </a:extLst>
          </p:cNvPr>
          <p:cNvCxnSpPr/>
          <p:nvPr>
            <p:custDataLst>
              <p:tags r:id="rId4"/>
            </p:custDataLst>
          </p:nvPr>
        </p:nvCxnSpPr>
        <p:spPr bwMode="auto">
          <a:xfrm flipH="1">
            <a:off x="1831975" y="5981700"/>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F1BB7F4A-A54C-4CED-A4C1-14CFADCEEC0A}"/>
              </a:ext>
            </a:extLst>
          </p:cNvPr>
          <p:cNvCxnSpPr/>
          <p:nvPr>
            <p:custDataLst>
              <p:tags r:id="rId5"/>
            </p:custDataLst>
          </p:nvPr>
        </p:nvCxnSpPr>
        <p:spPr bwMode="auto">
          <a:xfrm flipH="1">
            <a:off x="1831975" y="4973638"/>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B286D2A2-9937-4AA7-82DC-E5E2FF00D6BF}"/>
              </a:ext>
            </a:extLst>
          </p:cNvPr>
          <p:cNvCxnSpPr/>
          <p:nvPr>
            <p:custDataLst>
              <p:tags r:id="rId6"/>
            </p:custDataLst>
          </p:nvPr>
        </p:nvCxnSpPr>
        <p:spPr bwMode="auto">
          <a:xfrm flipH="1">
            <a:off x="1831975" y="4470400"/>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7" name="Chart 56">
            <a:extLst>
              <a:ext uri="{FF2B5EF4-FFF2-40B4-BE49-F238E27FC236}">
                <a16:creationId xmlns:a16="http://schemas.microsoft.com/office/drawing/2014/main" id="{A359E689-ECF3-4157-8811-1419FF35F6BC}"/>
              </a:ext>
            </a:extLst>
          </p:cNvPr>
          <p:cNvGraphicFramePr/>
          <p:nvPr>
            <p:custDataLst>
              <p:tags r:id="rId7"/>
            </p:custDataLst>
            <p:extLst>
              <p:ext uri="{D42A27DB-BD31-4B8C-83A1-F6EECF244321}">
                <p14:modId xmlns:p14="http://schemas.microsoft.com/office/powerpoint/2010/main" val="1166876923"/>
              </p:ext>
            </p:extLst>
          </p:nvPr>
        </p:nvGraphicFramePr>
        <p:xfrm>
          <a:off x="1804988" y="4387850"/>
          <a:ext cx="4799012" cy="1676400"/>
        </p:xfrm>
        <a:graphic>
          <a:graphicData uri="http://schemas.openxmlformats.org/drawingml/2006/chart">
            <c:chart xmlns:c="http://schemas.openxmlformats.org/drawingml/2006/chart" xmlns:r="http://schemas.openxmlformats.org/officeDocument/2006/relationships" r:id="rId36"/>
          </a:graphicData>
        </a:graphic>
      </p:graphicFrame>
      <p:sp>
        <p:nvSpPr>
          <p:cNvPr id="91" name="Text Placeholder">
            <a:extLst>
              <a:ext uri="{FF2B5EF4-FFF2-40B4-BE49-F238E27FC236}">
                <a16:creationId xmlns:a16="http://schemas.microsoft.com/office/drawing/2014/main" id="{FA02B1F6-C911-49B8-B177-CA6EDFD7CFCF}"/>
              </a:ext>
            </a:extLst>
          </p:cNvPr>
          <p:cNvSpPr>
            <a:spLocks noGrp="1"/>
          </p:cNvSpPr>
          <p:nvPr>
            <p:custDataLst>
              <p:tags r:id="rId8"/>
            </p:custDataLst>
          </p:nvPr>
        </p:nvSpPr>
        <p:spPr bwMode="gray">
          <a:xfrm>
            <a:off x="1738313"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949F272-B824-457B-B385-8687305E59AB}" type="datetime'''''''2''''''''''''''''''0''''''1''''''''''''''''5'''''''''''">
              <a:rPr lang="en-US" altLang="en-US" sz="1300" smtClean="0"/>
              <a:pPr algn="ctr">
                <a:spcBef>
                  <a:spcPct val="0"/>
                </a:spcBef>
              </a:pPr>
              <a:t>2015</a:t>
            </a:fld>
            <a:endParaRPr lang="en-US" sz="1300"/>
          </a:p>
        </p:txBody>
      </p:sp>
      <p:sp>
        <p:nvSpPr>
          <p:cNvPr id="92" name="Text Placeholder">
            <a:extLst>
              <a:ext uri="{FF2B5EF4-FFF2-40B4-BE49-F238E27FC236}">
                <a16:creationId xmlns:a16="http://schemas.microsoft.com/office/drawing/2014/main" id="{49385217-F24D-423A-8B25-2E2330D3A442}"/>
              </a:ext>
            </a:extLst>
          </p:cNvPr>
          <p:cNvSpPr>
            <a:spLocks noGrp="1"/>
          </p:cNvSpPr>
          <p:nvPr>
            <p:custDataLst>
              <p:tags r:id="rId9"/>
            </p:custDataLst>
          </p:nvPr>
        </p:nvSpPr>
        <p:spPr bwMode="gray">
          <a:xfrm>
            <a:off x="3282950"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A36B43B-CA3F-47CD-87FC-AC5352EAA299}" type="datetime'''''''''''''''2''''''''0''''''2''''''''''''0'''''''''''''''''">
              <a:rPr lang="en-US" altLang="en-US" sz="1300" smtClean="0"/>
              <a:pPr algn="ctr">
                <a:spcBef>
                  <a:spcPct val="0"/>
                </a:spcBef>
              </a:pPr>
              <a:t>2020</a:t>
            </a:fld>
            <a:endParaRPr lang="en-US" sz="1300"/>
          </a:p>
        </p:txBody>
      </p:sp>
      <p:sp>
        <p:nvSpPr>
          <p:cNvPr id="97" name="Text Placeholder">
            <a:extLst>
              <a:ext uri="{FF2B5EF4-FFF2-40B4-BE49-F238E27FC236}">
                <a16:creationId xmlns:a16="http://schemas.microsoft.com/office/drawing/2014/main" id="{AC9C1AF1-DFD1-46FA-A883-D9893E06E9E5}"/>
              </a:ext>
            </a:extLst>
          </p:cNvPr>
          <p:cNvSpPr>
            <a:spLocks noGrp="1"/>
          </p:cNvSpPr>
          <p:nvPr>
            <p:custDataLst>
              <p:tags r:id="rId10"/>
            </p:custDataLst>
          </p:nvPr>
        </p:nvSpPr>
        <p:spPr bwMode="gray">
          <a:xfrm>
            <a:off x="1309688" y="5394325"/>
            <a:ext cx="411163"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E9142363-9427-459E-8ED8-864C891624B5}" type="datetime'''''''''''''1''''''''''''''0'',0''''''0''''''''0'''''''''">
              <a:rPr lang="en-US" altLang="en-US" sz="1300" smtClean="0"/>
              <a:pPr algn="r">
                <a:spcBef>
                  <a:spcPct val="0"/>
                </a:spcBef>
              </a:pPr>
              <a:t>10,000</a:t>
            </a:fld>
            <a:endParaRPr lang="en-US" sz="1300"/>
          </a:p>
        </p:txBody>
      </p:sp>
      <p:sp>
        <p:nvSpPr>
          <p:cNvPr id="94" name="Text Placeholder">
            <a:extLst>
              <a:ext uri="{FF2B5EF4-FFF2-40B4-BE49-F238E27FC236}">
                <a16:creationId xmlns:a16="http://schemas.microsoft.com/office/drawing/2014/main" id="{E96E4B23-7D26-4F0E-AB2D-E47B25B52EAA}"/>
              </a:ext>
            </a:extLst>
          </p:cNvPr>
          <p:cNvSpPr>
            <a:spLocks noGrp="1"/>
          </p:cNvSpPr>
          <p:nvPr>
            <p:custDataLst>
              <p:tags r:id="rId11"/>
            </p:custDataLst>
          </p:nvPr>
        </p:nvSpPr>
        <p:spPr bwMode="gray">
          <a:xfrm>
            <a:off x="6372225"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3E34857-D9D7-4A7E-B405-1450886418F7}" type="datetime'''2''''''''''''''''''0''''''''''''''''30'''''''''''''''''''">
              <a:rPr lang="en-US" altLang="en-US" sz="1300" smtClean="0"/>
              <a:pPr algn="ctr">
                <a:spcBef>
                  <a:spcPct val="0"/>
                </a:spcBef>
              </a:pPr>
              <a:t>2030</a:t>
            </a:fld>
            <a:endParaRPr lang="en-US" sz="1300"/>
          </a:p>
        </p:txBody>
      </p:sp>
      <p:sp>
        <p:nvSpPr>
          <p:cNvPr id="93" name="Text Placeholder">
            <a:extLst>
              <a:ext uri="{FF2B5EF4-FFF2-40B4-BE49-F238E27FC236}">
                <a16:creationId xmlns:a16="http://schemas.microsoft.com/office/drawing/2014/main" id="{596EFE12-79BD-418D-80D1-42440C157094}"/>
              </a:ext>
            </a:extLst>
          </p:cNvPr>
          <p:cNvSpPr>
            <a:spLocks noGrp="1"/>
          </p:cNvSpPr>
          <p:nvPr>
            <p:custDataLst>
              <p:tags r:id="rId12"/>
            </p:custDataLst>
          </p:nvPr>
        </p:nvSpPr>
        <p:spPr bwMode="gray">
          <a:xfrm>
            <a:off x="4827588"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956BF2A-DA19-43D6-B4CA-2A4CB6127B60}" type="datetime'2''''''''02''''''''''''5'''''''''''''''''''''''''''''">
              <a:rPr lang="en-US" altLang="en-US" sz="1300" smtClean="0"/>
              <a:pPr algn="ctr">
                <a:spcBef>
                  <a:spcPct val="0"/>
                </a:spcBef>
              </a:pPr>
              <a:t>2025</a:t>
            </a:fld>
            <a:endParaRPr lang="en-US" sz="1300"/>
          </a:p>
        </p:txBody>
      </p:sp>
      <p:sp>
        <p:nvSpPr>
          <p:cNvPr id="96" name="Text Placeholder">
            <a:extLst>
              <a:ext uri="{FF2B5EF4-FFF2-40B4-BE49-F238E27FC236}">
                <a16:creationId xmlns:a16="http://schemas.microsoft.com/office/drawing/2014/main" id="{688273BF-D0E3-48D3-966C-E6B0440515E8}"/>
              </a:ext>
            </a:extLst>
          </p:cNvPr>
          <p:cNvSpPr>
            <a:spLocks noGrp="1"/>
          </p:cNvSpPr>
          <p:nvPr>
            <p:custDataLst>
              <p:tags r:id="rId13"/>
            </p:custDataLst>
          </p:nvPr>
        </p:nvSpPr>
        <p:spPr bwMode="gray">
          <a:xfrm>
            <a:off x="1384300" y="5897563"/>
            <a:ext cx="3365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096B70BF-38B1-45D1-8043-4FF8DD778833}" type="datetime'''9,''''''''0''0''''''''0'''''''''''''''''''''''''''''''''''''">
              <a:rPr lang="en-US" altLang="en-US" sz="1300" smtClean="0"/>
              <a:pPr algn="r">
                <a:spcBef>
                  <a:spcPct val="0"/>
                </a:spcBef>
              </a:pPr>
              <a:t>9,000</a:t>
            </a:fld>
            <a:endParaRPr lang="en-US" sz="1300"/>
          </a:p>
        </p:txBody>
      </p:sp>
      <p:sp>
        <p:nvSpPr>
          <p:cNvPr id="95" name="Text Placeholder">
            <a:extLst>
              <a:ext uri="{FF2B5EF4-FFF2-40B4-BE49-F238E27FC236}">
                <a16:creationId xmlns:a16="http://schemas.microsoft.com/office/drawing/2014/main" id="{361DAA59-00A8-491F-92A0-4D1788AFA458}"/>
              </a:ext>
            </a:extLst>
          </p:cNvPr>
          <p:cNvSpPr>
            <a:spLocks noGrp="1"/>
          </p:cNvSpPr>
          <p:nvPr>
            <p:custDataLst>
              <p:tags r:id="rId14"/>
            </p:custDataLst>
          </p:nvPr>
        </p:nvSpPr>
        <p:spPr bwMode="gray">
          <a:xfrm>
            <a:off x="1319213" y="4889500"/>
            <a:ext cx="401638"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850AE923-7A43-40A6-ACED-4C8FC5A8580B}" type="datetime'''''''''''11,''''0''''0''''''''''''''''0'''''''''">
              <a:rPr lang="en-US" altLang="en-US" sz="1300" smtClean="0"/>
              <a:pPr algn="r">
                <a:spcBef>
                  <a:spcPct val="0"/>
                </a:spcBef>
              </a:pPr>
              <a:t>11,000</a:t>
            </a:fld>
            <a:endParaRPr lang="en-US" sz="1300"/>
          </a:p>
        </p:txBody>
      </p:sp>
      <p:sp>
        <p:nvSpPr>
          <p:cNvPr id="98" name="Text Placeholder">
            <a:extLst>
              <a:ext uri="{FF2B5EF4-FFF2-40B4-BE49-F238E27FC236}">
                <a16:creationId xmlns:a16="http://schemas.microsoft.com/office/drawing/2014/main" id="{B33C23D7-459F-4FC9-9206-1823A97D3784}"/>
              </a:ext>
            </a:extLst>
          </p:cNvPr>
          <p:cNvSpPr>
            <a:spLocks noGrp="1"/>
          </p:cNvSpPr>
          <p:nvPr>
            <p:custDataLst>
              <p:tags r:id="rId15"/>
            </p:custDataLst>
          </p:nvPr>
        </p:nvSpPr>
        <p:spPr bwMode="gray">
          <a:xfrm>
            <a:off x="1309688" y="4386262"/>
            <a:ext cx="411163"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6CBF1CDF-E5D4-4090-B8C1-4AF3D39F76A6}" type="datetime'1''''''''''2'''''''',''''''''''''''''''''''''0''00'''''''">
              <a:rPr lang="en-US" altLang="en-US" sz="1300" smtClean="0"/>
              <a:pPr algn="r">
                <a:spcBef>
                  <a:spcPct val="0"/>
                </a:spcBef>
              </a:pPr>
              <a:t>12,000</a:t>
            </a:fld>
            <a:endParaRPr lang="en-US" sz="1300"/>
          </a:p>
        </p:txBody>
      </p:sp>
      <p:pic>
        <p:nvPicPr>
          <p:cNvPr id="101" name="Picture 4" descr="Результат пошуку зображень за запитом carec logo transparent">
            <a:extLst>
              <a:ext uri="{FF2B5EF4-FFF2-40B4-BE49-F238E27FC236}">
                <a16:creationId xmlns:a16="http://schemas.microsoft.com/office/drawing/2014/main" id="{A238F176-FE43-48E4-A9ED-F6A1DFFE8823}"/>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47463" y="2183537"/>
            <a:ext cx="464508" cy="319995"/>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descr="Результат пошуку зображень за запитом carec logo transparent">
            <a:extLst>
              <a:ext uri="{FF2B5EF4-FFF2-40B4-BE49-F238E27FC236}">
                <a16:creationId xmlns:a16="http://schemas.microsoft.com/office/drawing/2014/main" id="{CC43D49B-FC44-4159-BA4C-80CFE6CFDE51}"/>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47464" y="4435475"/>
            <a:ext cx="463191" cy="319088"/>
          </a:xfrm>
          <a:prstGeom prst="rect">
            <a:avLst/>
          </a:prstGeom>
          <a:noFill/>
          <a:extLst>
            <a:ext uri="{909E8E84-426E-40DD-AFC4-6F175D3DCCD1}">
              <a14:hiddenFill xmlns:a14="http://schemas.microsoft.com/office/drawing/2010/main">
                <a:solidFill>
                  <a:srgbClr val="FFFFFF"/>
                </a:solidFill>
              </a14:hiddenFill>
            </a:ext>
          </a:extLst>
        </p:spPr>
      </p:pic>
      <p:cxnSp>
        <p:nvCxnSpPr>
          <p:cNvPr id="103" name="Straight Connector 102">
            <a:extLst>
              <a:ext uri="{FF2B5EF4-FFF2-40B4-BE49-F238E27FC236}">
                <a16:creationId xmlns:a16="http://schemas.microsoft.com/office/drawing/2014/main" id="{9A951867-DA97-40DF-9321-744293A01724}"/>
              </a:ext>
            </a:extLst>
          </p:cNvPr>
          <p:cNvCxnSpPr>
            <a:cxnSpLocks/>
          </p:cNvCxnSpPr>
          <p:nvPr/>
        </p:nvCxnSpPr>
        <p:spPr>
          <a:xfrm>
            <a:off x="722313" y="4281488"/>
            <a:ext cx="5930414"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graphicFrame>
        <p:nvGraphicFramePr>
          <p:cNvPr id="58" name="Chart 57">
            <a:extLst>
              <a:ext uri="{FF2B5EF4-FFF2-40B4-BE49-F238E27FC236}">
                <a16:creationId xmlns:a16="http://schemas.microsoft.com/office/drawing/2014/main" id="{BECE08B0-0774-4493-A287-69482645C83B}"/>
              </a:ext>
            </a:extLst>
          </p:cNvPr>
          <p:cNvGraphicFramePr/>
          <p:nvPr>
            <p:custDataLst>
              <p:tags r:id="rId16"/>
            </p:custDataLst>
            <p:extLst>
              <p:ext uri="{D42A27DB-BD31-4B8C-83A1-F6EECF244321}">
                <p14:modId xmlns:p14="http://schemas.microsoft.com/office/powerpoint/2010/main" val="1851878350"/>
              </p:ext>
            </p:extLst>
          </p:nvPr>
        </p:nvGraphicFramePr>
        <p:xfrm>
          <a:off x="1292225" y="2127250"/>
          <a:ext cx="5311775" cy="1744663"/>
        </p:xfrm>
        <a:graphic>
          <a:graphicData uri="http://schemas.openxmlformats.org/drawingml/2006/chart">
            <c:chart xmlns:c="http://schemas.openxmlformats.org/drawingml/2006/chart" xmlns:r="http://schemas.openxmlformats.org/officeDocument/2006/relationships" r:id="rId38"/>
          </a:graphicData>
        </a:graphic>
      </p:graphicFrame>
      <p:sp>
        <p:nvSpPr>
          <p:cNvPr id="105" name="Text Placeholder">
            <a:extLst>
              <a:ext uri="{FF2B5EF4-FFF2-40B4-BE49-F238E27FC236}">
                <a16:creationId xmlns:a16="http://schemas.microsoft.com/office/drawing/2014/main" id="{047DBA74-FBE7-4A9C-B31C-F5E3F91633E7}"/>
              </a:ext>
            </a:extLst>
          </p:cNvPr>
          <p:cNvSpPr>
            <a:spLocks noGrp="1"/>
          </p:cNvSpPr>
          <p:nvPr>
            <p:custDataLst>
              <p:tags r:id="rId17"/>
            </p:custDataLst>
          </p:nvPr>
        </p:nvSpPr>
        <p:spPr bwMode="gray">
          <a:xfrm>
            <a:off x="1738313"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15F0F7E-0335-49C0-A68F-0E8735C3D166}" type="datetime'''''''''2''''''''''0''''''''15'''''''">
              <a:rPr lang="en-US" altLang="en-US" sz="1300" smtClean="0"/>
              <a:pPr algn="ctr">
                <a:spcBef>
                  <a:spcPct val="0"/>
                </a:spcBef>
              </a:pPr>
              <a:t>2015</a:t>
            </a:fld>
            <a:endParaRPr lang="en-US" sz="1300"/>
          </a:p>
        </p:txBody>
      </p:sp>
      <p:sp>
        <p:nvSpPr>
          <p:cNvPr id="106" name="Text Placeholder">
            <a:extLst>
              <a:ext uri="{FF2B5EF4-FFF2-40B4-BE49-F238E27FC236}">
                <a16:creationId xmlns:a16="http://schemas.microsoft.com/office/drawing/2014/main" id="{47A449F8-530C-44A6-803B-BF5868EA6389}"/>
              </a:ext>
            </a:extLst>
          </p:cNvPr>
          <p:cNvSpPr>
            <a:spLocks noGrp="1"/>
          </p:cNvSpPr>
          <p:nvPr>
            <p:custDataLst>
              <p:tags r:id="rId18"/>
            </p:custDataLst>
          </p:nvPr>
        </p:nvSpPr>
        <p:spPr bwMode="gray">
          <a:xfrm>
            <a:off x="3282950"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8D30F98-DAAC-4690-A5FF-8AF88B459322}" type="datetime'''''''''2''''02''''''''''0'''''''''''''''''''''''''">
              <a:rPr lang="en-US" altLang="en-US" sz="1300" smtClean="0"/>
              <a:pPr algn="ctr">
                <a:spcBef>
                  <a:spcPct val="0"/>
                </a:spcBef>
              </a:pPr>
              <a:t>2020</a:t>
            </a:fld>
            <a:endParaRPr lang="en-US" sz="1300"/>
          </a:p>
        </p:txBody>
      </p:sp>
      <p:sp>
        <p:nvSpPr>
          <p:cNvPr id="108" name="Text Placeholder">
            <a:extLst>
              <a:ext uri="{FF2B5EF4-FFF2-40B4-BE49-F238E27FC236}">
                <a16:creationId xmlns:a16="http://schemas.microsoft.com/office/drawing/2014/main" id="{18F4F798-4961-4398-A769-450AC95915EC}"/>
              </a:ext>
            </a:extLst>
          </p:cNvPr>
          <p:cNvSpPr>
            <a:spLocks noGrp="1"/>
          </p:cNvSpPr>
          <p:nvPr>
            <p:custDataLst>
              <p:tags r:id="rId19"/>
            </p:custDataLst>
          </p:nvPr>
        </p:nvSpPr>
        <p:spPr bwMode="gray">
          <a:xfrm>
            <a:off x="6372225"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1A4CA86-9A21-4706-82A6-D09B5B0B7A89}" type="datetime'''2''0''''''''''''''''''''''3''''''''''0'''''">
              <a:rPr lang="en-US" altLang="en-US" sz="1300" smtClean="0"/>
              <a:pPr algn="ctr">
                <a:spcBef>
                  <a:spcPct val="0"/>
                </a:spcBef>
              </a:pPr>
              <a:t>2030</a:t>
            </a:fld>
            <a:endParaRPr lang="en-US" sz="1300"/>
          </a:p>
        </p:txBody>
      </p:sp>
      <p:sp>
        <p:nvSpPr>
          <p:cNvPr id="107" name="Text Placeholder">
            <a:extLst>
              <a:ext uri="{FF2B5EF4-FFF2-40B4-BE49-F238E27FC236}">
                <a16:creationId xmlns:a16="http://schemas.microsoft.com/office/drawing/2014/main" id="{9EB79A14-DC5E-4D93-B995-08FACC648553}"/>
              </a:ext>
            </a:extLst>
          </p:cNvPr>
          <p:cNvSpPr>
            <a:spLocks noGrp="1"/>
          </p:cNvSpPr>
          <p:nvPr>
            <p:custDataLst>
              <p:tags r:id="rId20"/>
            </p:custDataLst>
          </p:nvPr>
        </p:nvSpPr>
        <p:spPr bwMode="gray">
          <a:xfrm>
            <a:off x="4827588"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3040169-9494-4574-A7F2-6CF48FBB76B5}" type="datetime'''''2''''''''0''''''''''''2''''''''5'''''">
              <a:rPr lang="en-US" altLang="en-US" sz="1300" smtClean="0"/>
              <a:pPr algn="ctr">
                <a:spcBef>
                  <a:spcPct val="0"/>
                </a:spcBef>
              </a:pPr>
              <a:t>2025</a:t>
            </a:fld>
            <a:endParaRPr lang="en-US" sz="1300"/>
          </a:p>
        </p:txBody>
      </p:sp>
      <p:cxnSp>
        <p:nvCxnSpPr>
          <p:cNvPr id="110" name="Straight Connector 109">
            <a:extLst>
              <a:ext uri="{FF2B5EF4-FFF2-40B4-BE49-F238E27FC236}">
                <a16:creationId xmlns:a16="http://schemas.microsoft.com/office/drawing/2014/main" id="{CCBAAE94-FD1E-4F35-A56E-44E46ABA0114}"/>
              </a:ext>
            </a:extLst>
          </p:cNvPr>
          <p:cNvCxnSpPr/>
          <p:nvPr>
            <p:custDataLst>
              <p:tags r:id="rId21"/>
            </p:custDataLst>
          </p:nvPr>
        </p:nvCxnSpPr>
        <p:spPr bwMode="gray">
          <a:xfrm>
            <a:off x="760413" y="6527800"/>
            <a:ext cx="223838" cy="0"/>
          </a:xfrm>
          <a:prstGeom prst="line">
            <a:avLst/>
          </a:prstGeom>
          <a:ln w="34925" cap="rnd"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DE16EC38-55FF-4BB4-AAA1-0E0C8D729D0B}"/>
              </a:ext>
            </a:extLst>
          </p:cNvPr>
          <p:cNvCxnSpPr/>
          <p:nvPr>
            <p:custDataLst>
              <p:tags r:id="rId22"/>
            </p:custDataLst>
          </p:nvPr>
        </p:nvCxnSpPr>
        <p:spPr bwMode="gray">
          <a:xfrm>
            <a:off x="1565275" y="6330950"/>
            <a:ext cx="223838" cy="0"/>
          </a:xfrm>
          <a:prstGeom prst="line">
            <a:avLst/>
          </a:prstGeom>
          <a:ln w="28575"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ECD47AAA-1F18-42DF-8A5A-6CBB25400A83}"/>
              </a:ext>
            </a:extLst>
          </p:cNvPr>
          <p:cNvCxnSpPr/>
          <p:nvPr>
            <p:custDataLst>
              <p:tags r:id="rId23"/>
            </p:custDataLst>
          </p:nvPr>
        </p:nvCxnSpPr>
        <p:spPr bwMode="gray">
          <a:xfrm>
            <a:off x="760412" y="6330950"/>
            <a:ext cx="223838" cy="0"/>
          </a:xfrm>
          <a:prstGeom prst="line">
            <a:avLst/>
          </a:prstGeom>
          <a:ln w="2857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C82FA668-0299-4583-8718-DC26BF4F1A83}"/>
              </a:ext>
            </a:extLst>
          </p:cNvPr>
          <p:cNvCxnSpPr/>
          <p:nvPr>
            <p:custDataLst>
              <p:tags r:id="rId24"/>
            </p:custDataLst>
          </p:nvPr>
        </p:nvCxnSpPr>
        <p:spPr bwMode="gray">
          <a:xfrm>
            <a:off x="1565275" y="6527800"/>
            <a:ext cx="223838" cy="0"/>
          </a:xfrm>
          <a:prstGeom prst="line">
            <a:avLst/>
          </a:prstGeom>
          <a:ln w="34925" cap="rnd"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3" name="Rectangle 112">
            <a:extLst>
              <a:ext uri="{FF2B5EF4-FFF2-40B4-BE49-F238E27FC236}">
                <a16:creationId xmlns:a16="http://schemas.microsoft.com/office/drawing/2014/main" id="{FCFFC328-186D-4A04-A472-07EBACAE71C7}"/>
              </a:ext>
            </a:extLst>
          </p:cNvPr>
          <p:cNvSpPr/>
          <p:nvPr>
            <p:custDataLst>
              <p:tags r:id="rId25"/>
            </p:custDataLst>
          </p:nvPr>
        </p:nvSpPr>
        <p:spPr bwMode="auto">
          <a:xfrm>
            <a:off x="833438" y="6292850"/>
            <a:ext cx="76200" cy="76200"/>
          </a:xfrm>
          <a:prstGeom prst="rect">
            <a:avLst/>
          </a:prstGeom>
          <a:solidFill>
            <a:srgbClr val="FFFFFF"/>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14" name="Rectangle 113">
            <a:extLst>
              <a:ext uri="{FF2B5EF4-FFF2-40B4-BE49-F238E27FC236}">
                <a16:creationId xmlns:a16="http://schemas.microsoft.com/office/drawing/2014/main" id="{4A0238F7-E3E9-428E-9057-8575EC63A7F3}"/>
              </a:ext>
            </a:extLst>
          </p:cNvPr>
          <p:cNvSpPr/>
          <p:nvPr>
            <p:custDataLst>
              <p:tags r:id="rId26"/>
            </p:custDataLst>
          </p:nvPr>
        </p:nvSpPr>
        <p:spPr bwMode="auto">
          <a:xfrm>
            <a:off x="833438" y="6489700"/>
            <a:ext cx="76200" cy="76200"/>
          </a:xfrm>
          <a:prstGeom prst="rect">
            <a:avLst/>
          </a:prstGeom>
          <a:solidFill>
            <a:srgbClr val="FFFFFF"/>
          </a:solidFill>
          <a:ln w="9525"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15" name="Rectangle 114">
            <a:extLst>
              <a:ext uri="{FF2B5EF4-FFF2-40B4-BE49-F238E27FC236}">
                <a16:creationId xmlns:a16="http://schemas.microsoft.com/office/drawing/2014/main" id="{FA200305-B66B-41E2-B52C-8F92A84994E2}"/>
              </a:ext>
            </a:extLst>
          </p:cNvPr>
          <p:cNvSpPr/>
          <p:nvPr>
            <p:custDataLst>
              <p:tags r:id="rId27"/>
            </p:custDataLst>
          </p:nvPr>
        </p:nvSpPr>
        <p:spPr bwMode="auto">
          <a:xfrm>
            <a:off x="1638300" y="6292850"/>
            <a:ext cx="76200" cy="76200"/>
          </a:xfrm>
          <a:prstGeom prst="rect">
            <a:avLst/>
          </a:prstGeom>
          <a:solidFill>
            <a:srgbClr val="FFFFFF"/>
          </a:solidFill>
          <a:ln w="9525" cap="flat" cmpd="sng" algn="ctr">
            <a:solidFill>
              <a:schemeClr val="accent4"/>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16" name="Rectangle 115">
            <a:extLst>
              <a:ext uri="{FF2B5EF4-FFF2-40B4-BE49-F238E27FC236}">
                <a16:creationId xmlns:a16="http://schemas.microsoft.com/office/drawing/2014/main" id="{9CBFA271-54FB-4237-850E-34D5810611CB}"/>
              </a:ext>
            </a:extLst>
          </p:cNvPr>
          <p:cNvSpPr/>
          <p:nvPr>
            <p:custDataLst>
              <p:tags r:id="rId28"/>
            </p:custDataLst>
          </p:nvPr>
        </p:nvSpPr>
        <p:spPr bwMode="auto">
          <a:xfrm>
            <a:off x="1638300" y="6489700"/>
            <a:ext cx="76200" cy="76200"/>
          </a:xfrm>
          <a:prstGeom prst="rect">
            <a:avLst/>
          </a:prstGeom>
          <a:solidFill>
            <a:srgbClr val="FFFFFF"/>
          </a:solidFill>
          <a:ln w="9525" cap="flat" cmpd="sng" algn="ctr">
            <a:solidFill>
              <a:schemeClr val="bg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117" name="Text Placeholder">
            <a:extLst>
              <a:ext uri="{FF2B5EF4-FFF2-40B4-BE49-F238E27FC236}">
                <a16:creationId xmlns:a16="http://schemas.microsoft.com/office/drawing/2014/main" id="{BB9B632C-B7C6-4659-A75D-AC5147878D3B}"/>
              </a:ext>
            </a:extLst>
          </p:cNvPr>
          <p:cNvSpPr>
            <a:spLocks noGrp="1"/>
          </p:cNvSpPr>
          <p:nvPr>
            <p:custDataLst>
              <p:tags r:id="rId29"/>
            </p:custDataLst>
          </p:nvPr>
        </p:nvSpPr>
        <p:spPr bwMode="auto">
          <a:xfrm>
            <a:off x="1035050" y="6272213"/>
            <a:ext cx="4286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en-US" sz="1000"/>
              <a:t>Historical</a:t>
            </a:r>
          </a:p>
        </p:txBody>
      </p:sp>
      <p:sp>
        <p:nvSpPr>
          <p:cNvPr id="118" name="Text Placeholder">
            <a:extLst>
              <a:ext uri="{FF2B5EF4-FFF2-40B4-BE49-F238E27FC236}">
                <a16:creationId xmlns:a16="http://schemas.microsoft.com/office/drawing/2014/main" id="{55724CE2-A3B5-438A-BC83-0924B288948A}"/>
              </a:ext>
            </a:extLst>
          </p:cNvPr>
          <p:cNvSpPr>
            <a:spLocks noGrp="1"/>
          </p:cNvSpPr>
          <p:nvPr>
            <p:custDataLst>
              <p:tags r:id="rId30"/>
            </p:custDataLst>
          </p:nvPr>
        </p:nvSpPr>
        <p:spPr bwMode="auto">
          <a:xfrm>
            <a:off x="1035050" y="6469063"/>
            <a:ext cx="214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en-US" sz="1000" err="1"/>
              <a:t>BAU</a:t>
            </a:r>
            <a:endParaRPr lang="en-US" sz="1000"/>
          </a:p>
        </p:txBody>
      </p:sp>
      <p:sp>
        <p:nvSpPr>
          <p:cNvPr id="119" name="Text Placeholder">
            <a:extLst>
              <a:ext uri="{FF2B5EF4-FFF2-40B4-BE49-F238E27FC236}">
                <a16:creationId xmlns:a16="http://schemas.microsoft.com/office/drawing/2014/main" id="{B3FC93EC-6CCA-47B2-B70A-CBFB8A3CB436}"/>
              </a:ext>
            </a:extLst>
          </p:cNvPr>
          <p:cNvSpPr>
            <a:spLocks noGrp="1"/>
          </p:cNvSpPr>
          <p:nvPr>
            <p:custDataLst>
              <p:tags r:id="rId31"/>
            </p:custDataLst>
          </p:nvPr>
        </p:nvSpPr>
        <p:spPr bwMode="auto">
          <a:xfrm>
            <a:off x="1839913" y="6272213"/>
            <a:ext cx="1217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en-US" sz="1000"/>
              <a:t>Government commitments</a:t>
            </a:r>
          </a:p>
        </p:txBody>
      </p:sp>
      <p:sp>
        <p:nvSpPr>
          <p:cNvPr id="120" name="Text Placeholder">
            <a:extLst>
              <a:ext uri="{FF2B5EF4-FFF2-40B4-BE49-F238E27FC236}">
                <a16:creationId xmlns:a16="http://schemas.microsoft.com/office/drawing/2014/main" id="{118F13EC-9623-47D0-BE9E-3E261FA33AD7}"/>
              </a:ext>
            </a:extLst>
          </p:cNvPr>
          <p:cNvSpPr>
            <a:spLocks noGrp="1"/>
          </p:cNvSpPr>
          <p:nvPr>
            <p:custDataLst>
              <p:tags r:id="rId32"/>
            </p:custDataLst>
          </p:nvPr>
        </p:nvSpPr>
        <p:spPr bwMode="auto">
          <a:xfrm>
            <a:off x="1839913" y="6469063"/>
            <a:ext cx="649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r>
              <a:rPr lang="en-US" altLang="en-US" sz="1000"/>
              <a:t>Green Growth</a:t>
            </a:r>
            <a:endParaRPr lang="en-US" sz="1000"/>
          </a:p>
        </p:txBody>
      </p:sp>
      <p:sp>
        <p:nvSpPr>
          <p:cNvPr id="123" name="Title44">
            <a:extLst>
              <a:ext uri="{FF2B5EF4-FFF2-40B4-BE49-F238E27FC236}">
                <a16:creationId xmlns:a16="http://schemas.microsoft.com/office/drawing/2014/main" id="{E4AB6B7E-D3E2-42EC-80DC-1EF993C7F80C}"/>
              </a:ext>
            </a:extLst>
          </p:cNvPr>
          <p:cNvSpPr txBox="1"/>
          <p:nvPr/>
        </p:nvSpPr>
        <p:spPr>
          <a:xfrm>
            <a:off x="766301" y="4957343"/>
            <a:ext cx="617999" cy="61179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GB" err="1">
                <a:solidFill>
                  <a:srgbClr val="000000"/>
                </a:solidFill>
                <a:cs typeface="Arial Narrow" pitchFamily="34" charset="0"/>
              </a:rPr>
              <a:t>CAREC</a:t>
            </a:r>
            <a:r>
              <a:rPr lang="en-GB">
                <a:solidFill>
                  <a:srgbClr val="000000"/>
                </a:solidFill>
                <a:cs typeface="Arial Narrow" pitchFamily="34" charset="0"/>
              </a:rPr>
              <a:t> (with PRC)</a:t>
            </a:r>
            <a:endParaRPr lang="en-US">
              <a:solidFill>
                <a:srgbClr val="000000"/>
              </a:solidFill>
              <a:cs typeface="Arial Narrow" pitchFamily="34" charset="0"/>
            </a:endParaRPr>
          </a:p>
        </p:txBody>
      </p:sp>
      <p:sp>
        <p:nvSpPr>
          <p:cNvPr id="124" name="Title44">
            <a:extLst>
              <a:ext uri="{FF2B5EF4-FFF2-40B4-BE49-F238E27FC236}">
                <a16:creationId xmlns:a16="http://schemas.microsoft.com/office/drawing/2014/main" id="{13348C18-2ABA-400D-8DCF-930576AC1243}"/>
              </a:ext>
            </a:extLst>
          </p:cNvPr>
          <p:cNvSpPr txBox="1"/>
          <p:nvPr/>
        </p:nvSpPr>
        <p:spPr>
          <a:xfrm>
            <a:off x="747463" y="2698738"/>
            <a:ext cx="765860" cy="61179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GB" err="1">
                <a:solidFill>
                  <a:srgbClr val="000000"/>
                </a:solidFill>
                <a:cs typeface="Arial Narrow" pitchFamily="34" charset="0"/>
              </a:rPr>
              <a:t>CAREC</a:t>
            </a:r>
            <a:r>
              <a:rPr lang="en-GB">
                <a:solidFill>
                  <a:srgbClr val="000000"/>
                </a:solidFill>
                <a:cs typeface="Arial Narrow" pitchFamily="34" charset="0"/>
              </a:rPr>
              <a:t> (without PRC)</a:t>
            </a:r>
            <a:endParaRPr lang="en-US">
              <a:solidFill>
                <a:srgbClr val="000000"/>
              </a:solidFill>
              <a:cs typeface="Arial Narrow" pitchFamily="34" charset="0"/>
            </a:endParaRPr>
          </a:p>
        </p:txBody>
      </p:sp>
      <p:sp>
        <p:nvSpPr>
          <p:cNvPr id="59" name="RbNavigator">
            <a:extLst>
              <a:ext uri="{FF2B5EF4-FFF2-40B4-BE49-F238E27FC236}">
                <a16:creationId xmlns:a16="http://schemas.microsoft.com/office/drawing/2014/main" id="{FE830124-C43F-46D2-8EC7-E255C1DE5657}"/>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60" name="RbSticker">
            <a:extLst>
              <a:ext uri="{FF2B5EF4-FFF2-40B4-BE49-F238E27FC236}">
                <a16:creationId xmlns:a16="http://schemas.microsoft.com/office/drawing/2014/main" id="{56AE43D1-CBDB-4BD3-8E10-D97F1DAA9A30}"/>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Tree>
    <p:extLst>
      <p:ext uri="{BB962C8B-B14F-4D97-AF65-F5344CB8AC3E}">
        <p14:creationId xmlns:p14="http://schemas.microsoft.com/office/powerpoint/2010/main" val="3764244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 name="Object 180" hidden="1">
            <a:extLst>
              <a:ext uri="{FF2B5EF4-FFF2-40B4-BE49-F238E27FC236}">
                <a16:creationId xmlns:a16="http://schemas.microsoft.com/office/drawing/2014/main" id="{444EC3C9-C050-4DE0-A5B9-8B693BB45894}"/>
              </a:ext>
            </a:extLst>
          </p:cNvPr>
          <p:cNvGraphicFramePr>
            <a:graphicFrameLocks noChangeAspect="1"/>
          </p:cNvGraphicFramePr>
          <p:nvPr>
            <p:custDataLst>
              <p:tags r:id="rId2"/>
            </p:custDataLst>
            <p:extLst>
              <p:ext uri="{D42A27DB-BD31-4B8C-83A1-F6EECF244321}">
                <p14:modId xmlns:p14="http://schemas.microsoft.com/office/powerpoint/2010/main" val="199943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6" imgW="360" imgH="360" progId="TCLayout.ActiveDocument.1">
                  <p:embed/>
                </p:oleObj>
              </mc:Choice>
              <mc:Fallback>
                <p:oleObj name="think-cell Slide" r:id="rId6" imgW="360" imgH="360" progId="TCLayout.ActiveDocument.1">
                  <p:embed/>
                  <p:pic>
                    <p:nvPicPr>
                      <p:cNvPr id="181" name="Object 180" hidden="1">
                        <a:extLst>
                          <a:ext uri="{FF2B5EF4-FFF2-40B4-BE49-F238E27FC236}">
                            <a16:creationId xmlns:a16="http://schemas.microsoft.com/office/drawing/2014/main" id="{444EC3C9-C050-4DE0-A5B9-8B693BB458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0" name="Rectangle 179" hidden="1">
            <a:extLst>
              <a:ext uri="{FF2B5EF4-FFF2-40B4-BE49-F238E27FC236}">
                <a16:creationId xmlns:a16="http://schemas.microsoft.com/office/drawing/2014/main" id="{E7280F19-E4E5-47F1-95E1-7543B85C7B5A}"/>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56">
              <a:latin typeface="Arial Narrow" panose="020B0606020202030204" pitchFamily="34" charset="0"/>
              <a:sym typeface="Arial Narrow" panose="020B0606020202030204" pitchFamily="34" charset="0"/>
            </a:endParaRPr>
          </a:p>
        </p:txBody>
      </p:sp>
    </p:spTree>
    <p:extLst>
      <p:ext uri="{BB962C8B-B14F-4D97-AF65-F5344CB8AC3E}">
        <p14:creationId xmlns:p14="http://schemas.microsoft.com/office/powerpoint/2010/main" val="3045306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7B38E6-E3D5-47DA-AE1E-0BA776390C57}"/>
              </a:ext>
            </a:extLst>
          </p:cNvPr>
          <p:cNvGraphicFramePr>
            <a:graphicFrameLocks noChangeAspect="1"/>
          </p:cNvGraphicFramePr>
          <p:nvPr>
            <p:custDataLst>
              <p:tags r:id="rId2"/>
            </p:custDataLst>
            <p:extLst>
              <p:ext uri="{D42A27DB-BD31-4B8C-83A1-F6EECF244321}">
                <p14:modId xmlns:p14="http://schemas.microsoft.com/office/powerpoint/2010/main" val="315803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A47B38E6-E3D5-47DA-AE1E-0BA776390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D7F70CC3-1491-46E3-884A-A45DE8C5583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100" b="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id="{0FEED32F-E2C9-41A5-A4A1-1553463FA73A}"/>
              </a:ext>
            </a:extLst>
          </p:cNvPr>
          <p:cNvSpPr>
            <a:spLocks noGrp="1"/>
          </p:cNvSpPr>
          <p:nvPr>
            <p:ph type="title"/>
          </p:nvPr>
        </p:nvSpPr>
        <p:spPr/>
        <p:txBody>
          <a:bodyPr vert="horz"/>
          <a:lstStyle/>
          <a:p>
            <a:r>
              <a:rPr lang="en-US"/>
              <a:t>Main topics and objective of this presentation</a:t>
            </a:r>
          </a:p>
        </p:txBody>
      </p:sp>
      <p:cxnSp>
        <p:nvCxnSpPr>
          <p:cNvPr id="41" name="Gerader Verbinder 7">
            <a:extLst>
              <a:ext uri="{FF2B5EF4-FFF2-40B4-BE49-F238E27FC236}">
                <a16:creationId xmlns:a16="http://schemas.microsoft.com/office/drawing/2014/main" id="{75F754FE-6FFD-409B-A7CE-24E7A63EBC8F}"/>
              </a:ext>
            </a:extLst>
          </p:cNvPr>
          <p:cNvCxnSpPr>
            <a:cxnSpLocks/>
          </p:cNvCxnSpPr>
          <p:nvPr/>
        </p:nvCxnSpPr>
        <p:spPr>
          <a:xfrm>
            <a:off x="738000" y="3269314"/>
            <a:ext cx="8533915" cy="0"/>
          </a:xfrm>
          <a:prstGeom prst="line">
            <a:avLst/>
          </a:prstGeom>
          <a:ln w="12700" cap="rnd">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45" name="TextBox 19">
            <a:extLst>
              <a:ext uri="{FF2B5EF4-FFF2-40B4-BE49-F238E27FC236}">
                <a16:creationId xmlns:a16="http://schemas.microsoft.com/office/drawing/2014/main" id="{1CA4E6C7-CC38-4592-B991-C0D0B0EE324B}"/>
              </a:ext>
            </a:extLst>
          </p:cNvPr>
          <p:cNvSpPr txBox="1">
            <a:spLocks/>
          </p:cNvSpPr>
          <p:nvPr/>
        </p:nvSpPr>
        <p:spPr>
          <a:xfrm>
            <a:off x="763228" y="3414174"/>
            <a:ext cx="745237" cy="484748"/>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US" sz="3500" b="0">
                <a:solidFill>
                  <a:schemeClr val="accent6"/>
                </a:solidFill>
                <a:latin typeface="+mn-lt"/>
                <a:cs typeface="Arial Narrow" pitchFamily="34" charset="0"/>
              </a:rPr>
              <a:t>B.</a:t>
            </a:r>
          </a:p>
        </p:txBody>
      </p:sp>
      <p:sp>
        <p:nvSpPr>
          <p:cNvPr id="46" name="TextBox 19">
            <a:extLst>
              <a:ext uri="{FF2B5EF4-FFF2-40B4-BE49-F238E27FC236}">
                <a16:creationId xmlns:a16="http://schemas.microsoft.com/office/drawing/2014/main" id="{37B13ED9-FA3F-4B42-AC47-DDFB85E07896}"/>
              </a:ext>
            </a:extLst>
          </p:cNvPr>
          <p:cNvSpPr txBox="1">
            <a:spLocks/>
          </p:cNvSpPr>
          <p:nvPr/>
        </p:nvSpPr>
        <p:spPr>
          <a:xfrm>
            <a:off x="1279625" y="3524973"/>
            <a:ext cx="6845979" cy="263149"/>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US" sz="1900" b="0">
                <a:cs typeface="Arial Narrow" pitchFamily="34" charset="0"/>
              </a:rPr>
              <a:t>Outlook summary</a:t>
            </a:r>
          </a:p>
        </p:txBody>
      </p:sp>
      <p:grpSp>
        <p:nvGrpSpPr>
          <p:cNvPr id="59" name="Group 58">
            <a:extLst>
              <a:ext uri="{FF2B5EF4-FFF2-40B4-BE49-F238E27FC236}">
                <a16:creationId xmlns:a16="http://schemas.microsoft.com/office/drawing/2014/main" id="{ECAB8465-32EC-4D38-A69C-764C4DA4B00B}"/>
              </a:ext>
            </a:extLst>
          </p:cNvPr>
          <p:cNvGrpSpPr/>
          <p:nvPr/>
        </p:nvGrpSpPr>
        <p:grpSpPr>
          <a:xfrm>
            <a:off x="763228" y="2659377"/>
            <a:ext cx="7362375" cy="484748"/>
            <a:chOff x="1289455" y="1719032"/>
            <a:chExt cx="7362375" cy="484748"/>
          </a:xfrm>
        </p:grpSpPr>
        <p:sp>
          <p:nvSpPr>
            <p:cNvPr id="62" name="TextBox 19">
              <a:extLst>
                <a:ext uri="{FF2B5EF4-FFF2-40B4-BE49-F238E27FC236}">
                  <a16:creationId xmlns:a16="http://schemas.microsoft.com/office/drawing/2014/main" id="{F8AC8783-8D0F-4C35-A6B8-9EA17C2C085F}"/>
                </a:ext>
              </a:extLst>
            </p:cNvPr>
            <p:cNvSpPr txBox="1">
              <a:spLocks/>
            </p:cNvSpPr>
            <p:nvPr/>
          </p:nvSpPr>
          <p:spPr>
            <a:xfrm>
              <a:off x="1289455" y="1719032"/>
              <a:ext cx="745237" cy="484748"/>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US" sz="3500" b="0">
                  <a:solidFill>
                    <a:schemeClr val="accent6"/>
                  </a:solidFill>
                  <a:latin typeface="+mn-lt"/>
                  <a:cs typeface="Arial Narrow" pitchFamily="34" charset="0"/>
                </a:rPr>
                <a:t>A.</a:t>
              </a:r>
            </a:p>
          </p:txBody>
        </p:sp>
        <p:sp>
          <p:nvSpPr>
            <p:cNvPr id="64" name="TextBox 19">
              <a:extLst>
                <a:ext uri="{FF2B5EF4-FFF2-40B4-BE49-F238E27FC236}">
                  <a16:creationId xmlns:a16="http://schemas.microsoft.com/office/drawing/2014/main" id="{F9D909DA-6076-4E8B-9008-127C6C43BE06}"/>
                </a:ext>
              </a:extLst>
            </p:cNvPr>
            <p:cNvSpPr txBox="1">
              <a:spLocks/>
            </p:cNvSpPr>
            <p:nvPr/>
          </p:nvSpPr>
          <p:spPr>
            <a:xfrm>
              <a:off x="1805851" y="1835414"/>
              <a:ext cx="6845979" cy="263149"/>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GB" sz="1900" b="0">
                  <a:cs typeface="Arial Narrow" pitchFamily="34" charset="0"/>
                </a:rPr>
                <a:t>Introduction &amp; methodology</a:t>
              </a:r>
              <a:endParaRPr lang="en-US" sz="1400" b="0">
                <a:solidFill>
                  <a:schemeClr val="accent6"/>
                </a:solidFill>
                <a:cs typeface="Arial Narrow" pitchFamily="34" charset="0"/>
              </a:endParaRPr>
            </a:p>
          </p:txBody>
        </p:sp>
      </p:grpSp>
      <p:sp>
        <p:nvSpPr>
          <p:cNvPr id="96" name="Rectangle: Rounded Corners 95">
            <a:extLst>
              <a:ext uri="{FF2B5EF4-FFF2-40B4-BE49-F238E27FC236}">
                <a16:creationId xmlns:a16="http://schemas.microsoft.com/office/drawing/2014/main" id="{30B0F29F-26FB-49AF-BE1C-A8CEA14B07EC}"/>
              </a:ext>
            </a:extLst>
          </p:cNvPr>
          <p:cNvSpPr/>
          <p:nvPr/>
        </p:nvSpPr>
        <p:spPr>
          <a:xfrm>
            <a:off x="738189" y="4497611"/>
            <a:ext cx="8523999" cy="1227301"/>
          </a:xfrm>
          <a:prstGeom prst="roundRect">
            <a:avLst>
              <a:gd name="adj" fmla="val 39704"/>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marL="628650" lvl="1">
              <a:lnSpc>
                <a:spcPct val="90000"/>
              </a:lnSpc>
              <a:spcBef>
                <a:spcPts val="400"/>
              </a:spcBef>
              <a:buSzPct val="100000"/>
            </a:pPr>
            <a:r>
              <a:rPr lang="en-US" sz="2000" b="0">
                <a:solidFill>
                  <a:schemeClr val="bg1"/>
                </a:solidFill>
              </a:rPr>
              <a:t>Our main objective for today's meeting is </a:t>
            </a:r>
            <a:r>
              <a:rPr lang="en-GB" sz="2000" b="0">
                <a:solidFill>
                  <a:schemeClr val="bg1"/>
                </a:solidFill>
              </a:rPr>
              <a:t>to </a:t>
            </a:r>
            <a:r>
              <a:rPr lang="en-US" sz="2000">
                <a:solidFill>
                  <a:schemeClr val="bg1"/>
                </a:solidFill>
              </a:rPr>
              <a:t>present the main results </a:t>
            </a:r>
            <a:r>
              <a:rPr lang="en-US" sz="2000" b="0">
                <a:solidFill>
                  <a:schemeClr val="bg1"/>
                </a:solidFill>
              </a:rPr>
              <a:t>of the Regional Energy Investment Outlook on both regional and country levels, and to  </a:t>
            </a:r>
            <a:r>
              <a:rPr lang="en-US" sz="2000">
                <a:solidFill>
                  <a:schemeClr val="bg1"/>
                </a:solidFill>
              </a:rPr>
              <a:t>align on the Outlook's contents prior to document's publication</a:t>
            </a:r>
          </a:p>
        </p:txBody>
      </p:sp>
      <p:grpSp>
        <p:nvGrpSpPr>
          <p:cNvPr id="97" name="Group 96">
            <a:extLst>
              <a:ext uri="{FF2B5EF4-FFF2-40B4-BE49-F238E27FC236}">
                <a16:creationId xmlns:a16="http://schemas.microsoft.com/office/drawing/2014/main" id="{C428416A-B3A0-4EB3-A580-B3408DB113F7}"/>
              </a:ext>
            </a:extLst>
          </p:cNvPr>
          <p:cNvGrpSpPr>
            <a:grpSpLocks noChangeAspect="1"/>
          </p:cNvGrpSpPr>
          <p:nvPr/>
        </p:nvGrpSpPr>
        <p:grpSpPr>
          <a:xfrm>
            <a:off x="968323" y="4914213"/>
            <a:ext cx="407890" cy="313846"/>
            <a:chOff x="738188" y="4194175"/>
            <a:chExt cx="3001963" cy="2309813"/>
          </a:xfrm>
          <a:solidFill>
            <a:schemeClr val="bg1"/>
          </a:solidFill>
        </p:grpSpPr>
        <p:sp>
          <p:nvSpPr>
            <p:cNvPr id="98" name="Freeform 9">
              <a:extLst>
                <a:ext uri="{FF2B5EF4-FFF2-40B4-BE49-F238E27FC236}">
                  <a16:creationId xmlns:a16="http://schemas.microsoft.com/office/drawing/2014/main" id="{FF362EE0-567C-4BF2-91D8-DE3F97E09276}"/>
                </a:ext>
              </a:extLst>
            </p:cNvPr>
            <p:cNvSpPr>
              <a:spLocks/>
            </p:cNvSpPr>
            <p:nvPr/>
          </p:nvSpPr>
          <p:spPr bwMode="auto">
            <a:xfrm>
              <a:off x="738188" y="4887913"/>
              <a:ext cx="461963" cy="1616075"/>
            </a:xfrm>
            <a:custGeom>
              <a:avLst/>
              <a:gdLst>
                <a:gd name="T0" fmla="*/ 0 w 320"/>
                <a:gd name="T1" fmla="*/ 0 h 1120"/>
                <a:gd name="T2" fmla="*/ 120 w 320"/>
                <a:gd name="T3" fmla="*/ 0 h 1120"/>
                <a:gd name="T4" fmla="*/ 320 w 320"/>
                <a:gd name="T5" fmla="*/ 200 h 1120"/>
                <a:gd name="T6" fmla="*/ 320 w 320"/>
                <a:gd name="T7" fmla="*/ 920 h 1120"/>
                <a:gd name="T8" fmla="*/ 120 w 320"/>
                <a:gd name="T9" fmla="*/ 1120 h 1120"/>
                <a:gd name="T10" fmla="*/ 0 w 320"/>
                <a:gd name="T11" fmla="*/ 1120 h 1120"/>
                <a:gd name="T12" fmla="*/ 0 w 320"/>
                <a:gd name="T13" fmla="*/ 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0" y="0"/>
                  </a:moveTo>
                  <a:cubicBezTo>
                    <a:pt x="120" y="0"/>
                    <a:pt x="120" y="0"/>
                    <a:pt x="120" y="0"/>
                  </a:cubicBezTo>
                  <a:cubicBezTo>
                    <a:pt x="230" y="0"/>
                    <a:pt x="320" y="90"/>
                    <a:pt x="320" y="200"/>
                  </a:cubicBezTo>
                  <a:cubicBezTo>
                    <a:pt x="320" y="920"/>
                    <a:pt x="320" y="920"/>
                    <a:pt x="320" y="920"/>
                  </a:cubicBezTo>
                  <a:cubicBezTo>
                    <a:pt x="320" y="1030"/>
                    <a:pt x="230" y="1120"/>
                    <a:pt x="120" y="1120"/>
                  </a:cubicBezTo>
                  <a:cubicBezTo>
                    <a:pt x="0" y="1120"/>
                    <a:pt x="0" y="1120"/>
                    <a:pt x="0" y="1120"/>
                  </a:cubicBezTo>
                  <a:cubicBezTo>
                    <a:pt x="0" y="1026"/>
                    <a:pt x="0" y="94"/>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99" name="Freeform 10">
              <a:extLst>
                <a:ext uri="{FF2B5EF4-FFF2-40B4-BE49-F238E27FC236}">
                  <a16:creationId xmlns:a16="http://schemas.microsoft.com/office/drawing/2014/main" id="{2261915F-328C-4AC8-96CF-19816DEF2AF4}"/>
                </a:ext>
              </a:extLst>
            </p:cNvPr>
            <p:cNvSpPr>
              <a:spLocks/>
            </p:cNvSpPr>
            <p:nvPr/>
          </p:nvSpPr>
          <p:spPr bwMode="auto">
            <a:xfrm>
              <a:off x="1316038" y="4194175"/>
              <a:ext cx="2424113" cy="2309812"/>
            </a:xfrm>
            <a:custGeom>
              <a:avLst/>
              <a:gdLst>
                <a:gd name="T0" fmla="*/ 0 w 1680"/>
                <a:gd name="T1" fmla="*/ 640 h 1600"/>
                <a:gd name="T2" fmla="*/ 80 w 1680"/>
                <a:gd name="T3" fmla="*/ 640 h 1600"/>
                <a:gd name="T4" fmla="*/ 156 w 1680"/>
                <a:gd name="T5" fmla="*/ 567 h 1600"/>
                <a:gd name="T6" fmla="*/ 212 w 1680"/>
                <a:gd name="T7" fmla="*/ 492 h 1600"/>
                <a:gd name="T8" fmla="*/ 372 w 1680"/>
                <a:gd name="T9" fmla="*/ 332 h 1600"/>
                <a:gd name="T10" fmla="*/ 480 w 1680"/>
                <a:gd name="T11" fmla="*/ 40 h 1600"/>
                <a:gd name="T12" fmla="*/ 520 w 1680"/>
                <a:gd name="T13" fmla="*/ 0 h 1600"/>
                <a:gd name="T14" fmla="*/ 644 w 1680"/>
                <a:gd name="T15" fmla="*/ 22 h 1600"/>
                <a:gd name="T16" fmla="*/ 797 w 1680"/>
                <a:gd name="T17" fmla="*/ 270 h 1600"/>
                <a:gd name="T18" fmla="*/ 773 w 1680"/>
                <a:gd name="T19" fmla="*/ 397 h 1600"/>
                <a:gd name="T20" fmla="*/ 739 w 1680"/>
                <a:gd name="T21" fmla="*/ 480 h 1600"/>
                <a:gd name="T22" fmla="*/ 1480 w 1680"/>
                <a:gd name="T23" fmla="*/ 480 h 1600"/>
                <a:gd name="T24" fmla="*/ 1680 w 1680"/>
                <a:gd name="T25" fmla="*/ 680 h 1600"/>
                <a:gd name="T26" fmla="*/ 1480 w 1680"/>
                <a:gd name="T27" fmla="*/ 880 h 1600"/>
                <a:gd name="T28" fmla="*/ 1150 w 1680"/>
                <a:gd name="T29" fmla="*/ 880 h 1600"/>
                <a:gd name="T30" fmla="*/ 996 w 1680"/>
                <a:gd name="T31" fmla="*/ 1420 h 1600"/>
                <a:gd name="T32" fmla="*/ 764 w 1680"/>
                <a:gd name="T33" fmla="*/ 1600 h 1600"/>
                <a:gd name="T34" fmla="*/ 560 w 1680"/>
                <a:gd name="T35" fmla="*/ 1600 h 1600"/>
                <a:gd name="T36" fmla="*/ 456 w 1680"/>
                <a:gd name="T37" fmla="*/ 1585 h 1600"/>
                <a:gd name="T38" fmla="*/ 279 w 1680"/>
                <a:gd name="T39" fmla="*/ 1485 h 1600"/>
                <a:gd name="T40" fmla="*/ 126 w 1680"/>
                <a:gd name="T41" fmla="*/ 1440 h 1600"/>
                <a:gd name="T42" fmla="*/ 0 w 1680"/>
                <a:gd name="T43" fmla="*/ 1440 h 1600"/>
                <a:gd name="T44" fmla="*/ 0 w 1680"/>
                <a:gd name="T45" fmla="*/ 6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0" h="1600">
                  <a:moveTo>
                    <a:pt x="0" y="640"/>
                  </a:moveTo>
                  <a:cubicBezTo>
                    <a:pt x="80" y="640"/>
                    <a:pt x="80" y="640"/>
                    <a:pt x="80" y="640"/>
                  </a:cubicBezTo>
                  <a:cubicBezTo>
                    <a:pt x="111" y="640"/>
                    <a:pt x="133" y="604"/>
                    <a:pt x="156" y="567"/>
                  </a:cubicBezTo>
                  <a:cubicBezTo>
                    <a:pt x="173" y="541"/>
                    <a:pt x="190" y="514"/>
                    <a:pt x="212" y="492"/>
                  </a:cubicBezTo>
                  <a:cubicBezTo>
                    <a:pt x="372" y="332"/>
                    <a:pt x="372" y="332"/>
                    <a:pt x="372" y="332"/>
                  </a:cubicBezTo>
                  <a:cubicBezTo>
                    <a:pt x="435" y="268"/>
                    <a:pt x="480" y="128"/>
                    <a:pt x="480" y="40"/>
                  </a:cubicBezTo>
                  <a:cubicBezTo>
                    <a:pt x="480" y="18"/>
                    <a:pt x="498" y="0"/>
                    <a:pt x="520" y="0"/>
                  </a:cubicBezTo>
                  <a:cubicBezTo>
                    <a:pt x="568" y="0"/>
                    <a:pt x="609" y="8"/>
                    <a:pt x="644" y="22"/>
                  </a:cubicBezTo>
                  <a:cubicBezTo>
                    <a:pt x="747" y="64"/>
                    <a:pt x="797" y="162"/>
                    <a:pt x="797" y="270"/>
                  </a:cubicBezTo>
                  <a:cubicBezTo>
                    <a:pt x="797" y="313"/>
                    <a:pt x="789" y="358"/>
                    <a:pt x="773" y="397"/>
                  </a:cubicBezTo>
                  <a:cubicBezTo>
                    <a:pt x="739" y="480"/>
                    <a:pt x="739" y="480"/>
                    <a:pt x="739" y="480"/>
                  </a:cubicBezTo>
                  <a:cubicBezTo>
                    <a:pt x="1480" y="480"/>
                    <a:pt x="1480" y="480"/>
                    <a:pt x="1480" y="480"/>
                  </a:cubicBezTo>
                  <a:cubicBezTo>
                    <a:pt x="1590" y="480"/>
                    <a:pt x="1680" y="570"/>
                    <a:pt x="1680" y="680"/>
                  </a:cubicBezTo>
                  <a:cubicBezTo>
                    <a:pt x="1680" y="790"/>
                    <a:pt x="1590" y="880"/>
                    <a:pt x="1480" y="880"/>
                  </a:cubicBezTo>
                  <a:cubicBezTo>
                    <a:pt x="1150" y="880"/>
                    <a:pt x="1150" y="880"/>
                    <a:pt x="1150" y="880"/>
                  </a:cubicBezTo>
                  <a:cubicBezTo>
                    <a:pt x="996" y="1420"/>
                    <a:pt x="996" y="1420"/>
                    <a:pt x="996" y="1420"/>
                  </a:cubicBezTo>
                  <a:cubicBezTo>
                    <a:pt x="966" y="1525"/>
                    <a:pt x="875" y="1600"/>
                    <a:pt x="764" y="1600"/>
                  </a:cubicBezTo>
                  <a:cubicBezTo>
                    <a:pt x="560" y="1600"/>
                    <a:pt x="560" y="1600"/>
                    <a:pt x="560" y="1600"/>
                  </a:cubicBezTo>
                  <a:cubicBezTo>
                    <a:pt x="523" y="1600"/>
                    <a:pt x="489" y="1595"/>
                    <a:pt x="456" y="1585"/>
                  </a:cubicBezTo>
                  <a:cubicBezTo>
                    <a:pt x="402" y="1569"/>
                    <a:pt x="323" y="1520"/>
                    <a:pt x="279" y="1485"/>
                  </a:cubicBezTo>
                  <a:cubicBezTo>
                    <a:pt x="232" y="1454"/>
                    <a:pt x="183" y="1440"/>
                    <a:pt x="126" y="1440"/>
                  </a:cubicBezTo>
                  <a:cubicBezTo>
                    <a:pt x="0" y="1440"/>
                    <a:pt x="0" y="1440"/>
                    <a:pt x="0" y="1440"/>
                  </a:cubicBezTo>
                  <a:cubicBezTo>
                    <a:pt x="0" y="1259"/>
                    <a:pt x="0" y="667"/>
                    <a:pt x="0" y="6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48" name="Source">
            <a:extLst>
              <a:ext uri="{FF2B5EF4-FFF2-40B4-BE49-F238E27FC236}">
                <a16:creationId xmlns:a16="http://schemas.microsoft.com/office/drawing/2014/main" id="{424CFCE1-CB76-4C6B-A9A1-220544F2DD53}"/>
              </a:ext>
            </a:extLst>
          </p:cNvPr>
          <p:cNvSpPr txBox="1"/>
          <p:nvPr/>
        </p:nvSpPr>
        <p:spPr>
          <a:xfrm>
            <a:off x="738189" y="6710121"/>
            <a:ext cx="965008"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Roland Berger</a:t>
            </a:r>
          </a:p>
        </p:txBody>
      </p:sp>
      <p:sp>
        <p:nvSpPr>
          <p:cNvPr id="22" name="rbStamp_Illustrative">
            <a:extLst>
              <a:ext uri="{FF2B5EF4-FFF2-40B4-BE49-F238E27FC236}">
                <a16:creationId xmlns:a16="http://schemas.microsoft.com/office/drawing/2014/main" id="{23817A87-74AD-43CA-867A-6C5FFA5C94A3}"/>
              </a:ext>
            </a:extLst>
          </p:cNvPr>
          <p:cNvSpPr txBox="1"/>
          <p:nvPr/>
        </p:nvSpPr>
        <p:spPr>
          <a:xfrm>
            <a:off x="5967382" y="1712535"/>
            <a:ext cx="2677491"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en-US">
                <a:solidFill>
                  <a:schemeClr val="accent6"/>
                </a:solidFill>
                <a:latin typeface="+mn-lt"/>
                <a:cs typeface="Arial Narrow" pitchFamily="34" charset="0"/>
              </a:rPr>
              <a:t>Roland Berger in cooperation with ILF</a:t>
            </a:r>
            <a:endParaRPr lang="uk-UA" noProof="0">
              <a:solidFill>
                <a:schemeClr val="accent6"/>
              </a:solidFill>
              <a:latin typeface="+mn-lt"/>
              <a:cs typeface="Arial Narrow" pitchFamily="34" charset="0"/>
            </a:endParaRPr>
          </a:p>
        </p:txBody>
      </p:sp>
      <p:pic>
        <p:nvPicPr>
          <p:cNvPr id="23" name="Picture 13">
            <a:extLst>
              <a:ext uri="{FF2B5EF4-FFF2-40B4-BE49-F238E27FC236}">
                <a16:creationId xmlns:a16="http://schemas.microsoft.com/office/drawing/2014/main" id="{32DAF403-0C70-4247-962B-5478E28245D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86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1766449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5" name="think-cell Slide" r:id="rId7" imgW="0" imgH="0" progId="TCLayout.ActiveDocument.1">
                  <p:embed/>
                </p:oleObj>
              </mc:Choice>
              <mc:Fallback>
                <p:oleObj name="think-cell Slide" r:id="rId7" imgW="0" imgH="0" progId="TCLayout.ActiveDocument.1">
                  <p:embed/>
                  <p:pic>
                    <p:nvPicPr>
                      <p:cNvPr id="23" name="Object 2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8D3B46C-B337-4181-98A8-4FAA2E48BA4C}"/>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a:latin typeface="Arial Narrow" panose="020B0606020202030204" pitchFamily="34" charset="0"/>
              <a:ea typeface="+mj-ea"/>
              <a:cs typeface="+mj-cs"/>
              <a:sym typeface="Arial Narrow" panose="020B0606020202030204" pitchFamily="34" charset="0"/>
            </a:endParaRPr>
          </a:p>
        </p:txBody>
      </p:sp>
      <p:sp>
        <p:nvSpPr>
          <p:cNvPr id="32" name="Oval Callout 28">
            <a:extLst>
              <a:ext uri="{FF2B5EF4-FFF2-40B4-BE49-F238E27FC236}">
                <a16:creationId xmlns:a16="http://schemas.microsoft.com/office/drawing/2014/main" id="{CF602515-57FA-4A21-BB3A-944550E2C88B}"/>
              </a:ext>
            </a:extLst>
          </p:cNvPr>
          <p:cNvSpPr/>
          <p:nvPr/>
        </p:nvSpPr>
        <p:spPr>
          <a:xfrm rot="19459346">
            <a:off x="6366265"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a:solidFill>
                <a:srgbClr val="000000"/>
              </a:solidFill>
            </a:endParaRPr>
          </a:p>
        </p:txBody>
      </p:sp>
      <p:sp>
        <p:nvSpPr>
          <p:cNvPr id="26" name="Oval Callout 28">
            <a:extLst>
              <a:ext uri="{FF2B5EF4-FFF2-40B4-BE49-F238E27FC236}">
                <a16:creationId xmlns:a16="http://schemas.microsoft.com/office/drawing/2014/main" id="{421557D1-DEE1-42EF-85F6-0FF473B66C5E}"/>
              </a:ext>
            </a:extLst>
          </p:cNvPr>
          <p:cNvSpPr/>
          <p:nvPr/>
        </p:nvSpPr>
        <p:spPr>
          <a:xfrm rot="19459346">
            <a:off x="3442444"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a:solidFill>
                <a:srgbClr val="000000"/>
              </a:solidFill>
            </a:endParaRPr>
          </a:p>
        </p:txBody>
      </p:sp>
      <p:sp>
        <p:nvSpPr>
          <p:cNvPr id="46" name="Title 45"/>
          <p:cNvSpPr>
            <a:spLocks noGrp="1"/>
          </p:cNvSpPr>
          <p:nvPr>
            <p:ph type="title"/>
          </p:nvPr>
        </p:nvSpPr>
        <p:spPr>
          <a:xfrm>
            <a:off x="737999" y="720000"/>
            <a:ext cx="8535989" cy="747897"/>
          </a:xfrm>
        </p:spPr>
        <p:txBody>
          <a:bodyPr vert="horz"/>
          <a:lstStyle/>
          <a:p>
            <a:pPr>
              <a:buSzPct val="100000"/>
            </a:pPr>
            <a:r>
              <a:rPr lang="en-US" spc="-30"/>
              <a:t>The Outlook investigates the future of </a:t>
            </a:r>
            <a:r>
              <a:rPr lang="en-US" spc="-30" err="1"/>
              <a:t>CAREC</a:t>
            </a:r>
            <a:r>
              <a:rPr lang="en-US" spc="-30"/>
              <a:t> energy until 2030 </a:t>
            </a:r>
            <a:br>
              <a:rPr lang="en-US" spc="-30"/>
            </a:br>
            <a:r>
              <a:rPr lang="en-US" spc="-30"/>
              <a:t>via 3 scenarios with objective to inform decision-making by investors</a:t>
            </a:r>
            <a:endParaRPr lang="en-US" noProof="1">
              <a:latin typeface="+mn-lt"/>
            </a:endParaRPr>
          </a:p>
        </p:txBody>
      </p:sp>
      <p:sp>
        <p:nvSpPr>
          <p:cNvPr id="65" name="Textframe 18"/>
          <p:cNvSpPr>
            <a:spLocks noChangeArrowheads="1"/>
          </p:cNvSpPr>
          <p:nvPr/>
        </p:nvSpPr>
        <p:spPr bwMode="auto">
          <a:xfrm>
            <a:off x="3651227" y="3165516"/>
            <a:ext cx="2584024" cy="2867708"/>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9" lvl="1" indent="-142629">
              <a:lnSpc>
                <a:spcPct val="93000"/>
              </a:lnSpc>
              <a:spcBef>
                <a:spcPts val="600"/>
              </a:spcBef>
              <a:buSzPct val="100000"/>
              <a:buFont typeface="Arial Narrow"/>
              <a:buChar char="&gt;"/>
            </a:pPr>
            <a:r>
              <a:rPr lang="en-US" sz="1500" b="0" noProof="1">
                <a:latin typeface="+mn-lt"/>
                <a:cs typeface="Arial" pitchFamily="34" charset="0"/>
              </a:rPr>
              <a:t>CAREC Energy Investment Outlook 2030 (the Outlook) is a </a:t>
            </a:r>
            <a:r>
              <a:rPr lang="en-US" sz="1500" noProof="1">
                <a:latin typeface="+mn-lt"/>
                <a:cs typeface="Arial" pitchFamily="34" charset="0"/>
              </a:rPr>
              <a:t>landmark publication </a:t>
            </a:r>
            <a:r>
              <a:rPr lang="en-US" sz="1500" b="0" noProof="1">
                <a:latin typeface="+mn-lt"/>
                <a:cs typeface="Arial" pitchFamily="34" charset="0"/>
              </a:rPr>
              <a:t>in the region and is a key </a:t>
            </a:r>
            <a:r>
              <a:rPr lang="en-US" sz="1500" noProof="1">
                <a:latin typeface="+mn-lt"/>
                <a:cs typeface="Arial" pitchFamily="34" charset="0"/>
              </a:rPr>
              <a:t>deliverable</a:t>
            </a:r>
            <a:r>
              <a:rPr lang="en-US" sz="1500" b="0" noProof="1">
                <a:latin typeface="+mn-lt"/>
                <a:cs typeface="Arial" pitchFamily="34" charset="0"/>
              </a:rPr>
              <a:t> of the CAREC Energy Strategy 2030</a:t>
            </a:r>
          </a:p>
          <a:p>
            <a:pPr marL="142629" lvl="1" indent="-142629">
              <a:lnSpc>
                <a:spcPct val="93000"/>
              </a:lnSpc>
              <a:spcBef>
                <a:spcPts val="600"/>
              </a:spcBef>
              <a:buSzPct val="100000"/>
              <a:buFont typeface="Arial Narrow"/>
              <a:buChar char="&gt;"/>
            </a:pPr>
            <a:r>
              <a:rPr lang="en-US" sz="1500">
                <a:latin typeface="+mj-lt"/>
                <a:sym typeface="+mn-lt"/>
              </a:rPr>
              <a:t>The Outlook does NOT aim to predict the future</a:t>
            </a:r>
            <a:r>
              <a:rPr lang="ru-RU" sz="1500">
                <a:latin typeface="+mj-lt"/>
                <a:sym typeface="+mn-lt"/>
              </a:rPr>
              <a:t> </a:t>
            </a:r>
            <a:r>
              <a:rPr lang="ru-RU" sz="1500" b="0">
                <a:latin typeface="+mj-lt"/>
                <a:sym typeface="+mn-lt"/>
              </a:rPr>
              <a:t>– </a:t>
            </a:r>
            <a:r>
              <a:rPr lang="en-GB" sz="1500" b="0">
                <a:latin typeface="+mj-lt"/>
                <a:sym typeface="+mn-lt"/>
              </a:rPr>
              <a:t>the</a:t>
            </a:r>
            <a:r>
              <a:rPr lang="en-US" sz="1500" b="0">
                <a:latin typeface="+mj-lt"/>
                <a:sym typeface="+mn-lt"/>
              </a:rPr>
              <a:t> level of energy supply, demand or related emissions – but rather to </a:t>
            </a:r>
            <a:r>
              <a:rPr lang="en-US" sz="1500">
                <a:latin typeface="+mj-lt"/>
                <a:sym typeface="+mn-lt"/>
              </a:rPr>
              <a:t>show potential outcomes of certain actions</a:t>
            </a:r>
            <a:r>
              <a:rPr lang="en-US" sz="1500" b="0">
                <a:latin typeface="+mj-lt"/>
                <a:sym typeface="+mn-lt"/>
              </a:rPr>
              <a:t> from the government and private investors in the </a:t>
            </a:r>
            <a:r>
              <a:rPr lang="en-US" sz="1500" b="0" err="1">
                <a:latin typeface="+mj-lt"/>
                <a:sym typeface="+mn-lt"/>
              </a:rPr>
              <a:t>CAREC</a:t>
            </a:r>
            <a:r>
              <a:rPr lang="en-US" sz="1500" b="0">
                <a:latin typeface="+mj-lt"/>
                <a:sym typeface="+mn-lt"/>
              </a:rPr>
              <a:t> energy systems</a:t>
            </a:r>
            <a:endParaRPr lang="en-US" sz="1500" b="0" noProof="1">
              <a:latin typeface="+mj-lt"/>
              <a:cs typeface="Arial" pitchFamily="34" charset="0"/>
            </a:endParaRPr>
          </a:p>
        </p:txBody>
      </p:sp>
      <p:cxnSp>
        <p:nvCxnSpPr>
          <p:cNvPr id="17" name="Gerade Verbindung 16"/>
          <p:cNvCxnSpPr/>
          <p:nvPr/>
        </p:nvCxnSpPr>
        <p:spPr>
          <a:xfrm>
            <a:off x="840466" y="2768380"/>
            <a:ext cx="8433522" cy="0"/>
          </a:xfrm>
          <a:prstGeom prst="line">
            <a:avLst/>
          </a:prstGeom>
          <a:ln w="95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8" name="Textframe 18"/>
          <p:cNvSpPr>
            <a:spLocks noChangeArrowheads="1"/>
          </p:cNvSpPr>
          <p:nvPr/>
        </p:nvSpPr>
        <p:spPr bwMode="auto">
          <a:xfrm>
            <a:off x="924357" y="3165516"/>
            <a:ext cx="2546430" cy="3077766"/>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a:spcBef>
                <a:spcPts val="600"/>
              </a:spcBef>
              <a:buSzPct val="100000"/>
              <a:buFont typeface="Arial Narrow" panose="020B0606020202030204" pitchFamily="34" charset="0"/>
              <a:buChar char="&gt;"/>
            </a:pPr>
            <a:r>
              <a:rPr lang="en-US" sz="1500" noProof="1">
                <a:latin typeface="+mn-lt"/>
                <a:cs typeface="Arial" pitchFamily="34" charset="0"/>
              </a:rPr>
              <a:t>Investors struggle to grasp </a:t>
            </a:r>
            <a:r>
              <a:rPr lang="en-US" sz="1500" b="0" noProof="1">
                <a:latin typeface="+mn-lt"/>
                <a:cs typeface="Arial" pitchFamily="34" charset="0"/>
              </a:rPr>
              <a:t>and follow all moving parts in a rapidly </a:t>
            </a:r>
            <a:r>
              <a:rPr lang="en-US" sz="1500" noProof="1">
                <a:latin typeface="+mn-lt"/>
                <a:cs typeface="Arial" pitchFamily="34" charset="0"/>
              </a:rPr>
              <a:t>changing energy landscape</a:t>
            </a:r>
            <a:r>
              <a:rPr lang="en-US" sz="1500" b="0" noProof="1">
                <a:latin typeface="+mn-lt"/>
                <a:cs typeface="Arial" pitchFamily="34" charset="0"/>
              </a:rPr>
              <a:t>, including:</a:t>
            </a:r>
          </a:p>
          <a:p>
            <a:pPr marL="298628" lvl="2" indent="-144856">
              <a:spcBef>
                <a:spcPts val="400"/>
              </a:spcBef>
              <a:buSzPct val="100000"/>
              <a:buFont typeface="Arial Narrow" panose="020B0606020202030204" pitchFamily="34" charset="0"/>
              <a:buChar char="–"/>
            </a:pPr>
            <a:r>
              <a:rPr lang="en-US" sz="1500" b="0" noProof="1">
                <a:latin typeface="+mn-lt"/>
                <a:cs typeface="Arial" pitchFamily="34" charset="0"/>
              </a:rPr>
              <a:t>Emergence of new </a:t>
            </a:r>
            <a:r>
              <a:rPr lang="en-US" sz="1500" noProof="1">
                <a:latin typeface="+mn-lt"/>
                <a:cs typeface="Arial" pitchFamily="34" charset="0"/>
              </a:rPr>
              <a:t>technologies</a:t>
            </a:r>
          </a:p>
          <a:p>
            <a:pPr marL="298628" lvl="2" indent="-144856">
              <a:spcBef>
                <a:spcPts val="400"/>
              </a:spcBef>
              <a:buSzPct val="100000"/>
              <a:buFont typeface="Arial Narrow" panose="020B0606020202030204" pitchFamily="34" charset="0"/>
              <a:buChar char="–"/>
            </a:pPr>
            <a:r>
              <a:rPr lang="en-US" sz="1500" b="0" noProof="1">
                <a:latin typeface="+mn-lt"/>
                <a:cs typeface="Arial" pitchFamily="34" charset="0"/>
              </a:rPr>
              <a:t>Incomplete and scattered </a:t>
            </a:r>
            <a:r>
              <a:rPr lang="en-US" sz="1500" noProof="1">
                <a:latin typeface="+mn-lt"/>
                <a:cs typeface="Arial" pitchFamily="34" charset="0"/>
              </a:rPr>
              <a:t>data</a:t>
            </a:r>
          </a:p>
          <a:p>
            <a:pPr marL="298628" lvl="2" indent="-144856">
              <a:spcBef>
                <a:spcPts val="400"/>
              </a:spcBef>
              <a:buSzPct val="100000"/>
              <a:buFont typeface="Arial Narrow" panose="020B0606020202030204" pitchFamily="34" charset="0"/>
              <a:buChar char="–"/>
            </a:pPr>
            <a:r>
              <a:rPr lang="en-US" sz="1500" noProof="1">
                <a:latin typeface="+mn-lt"/>
                <a:cs typeface="Arial" pitchFamily="34" charset="0"/>
              </a:rPr>
              <a:t>Infrastructure</a:t>
            </a:r>
            <a:r>
              <a:rPr lang="en-US" sz="1500" b="0" noProof="1">
                <a:latin typeface="+mn-lt"/>
                <a:cs typeface="Arial" pitchFamily="34" charset="0"/>
              </a:rPr>
              <a:t> condition</a:t>
            </a:r>
          </a:p>
          <a:p>
            <a:pPr marL="298628" lvl="2" indent="-144856">
              <a:spcBef>
                <a:spcPts val="400"/>
              </a:spcBef>
              <a:buSzPct val="100000"/>
              <a:buFont typeface="Arial Narrow" panose="020B0606020202030204" pitchFamily="34" charset="0"/>
              <a:buChar char="–"/>
            </a:pPr>
            <a:r>
              <a:rPr lang="en-US" sz="1500" b="0" noProof="1">
                <a:latin typeface="+mn-lt"/>
                <a:cs typeface="Arial" pitchFamily="34" charset="0"/>
              </a:rPr>
              <a:t>Rising energy </a:t>
            </a:r>
            <a:r>
              <a:rPr lang="en-US" sz="1500" noProof="1">
                <a:latin typeface="+mn-lt"/>
                <a:cs typeface="Arial" pitchFamily="34" charset="0"/>
              </a:rPr>
              <a:t>demand</a:t>
            </a:r>
          </a:p>
          <a:p>
            <a:pPr marL="298628" lvl="2" indent="-144856">
              <a:spcBef>
                <a:spcPts val="400"/>
              </a:spcBef>
              <a:buSzPct val="100000"/>
              <a:buFont typeface="Arial Narrow" panose="020B0606020202030204" pitchFamily="34" charset="0"/>
              <a:buChar char="–"/>
            </a:pPr>
            <a:r>
              <a:rPr lang="en-US" sz="1500" noProof="1">
                <a:latin typeface="+mn-lt"/>
                <a:cs typeface="Arial" pitchFamily="34" charset="0"/>
              </a:rPr>
              <a:t>Environmental</a:t>
            </a:r>
            <a:r>
              <a:rPr lang="en-US" sz="1500" b="0" noProof="1">
                <a:latin typeface="+mn-lt"/>
                <a:cs typeface="Arial" pitchFamily="34" charset="0"/>
              </a:rPr>
              <a:t> awareness and pledges of </a:t>
            </a:r>
            <a:r>
              <a:rPr lang="en-US" sz="1500" noProof="1">
                <a:latin typeface="+mn-lt"/>
                <a:cs typeface="Arial" pitchFamily="34" charset="0"/>
              </a:rPr>
              <a:t>Paris Agreement</a:t>
            </a:r>
          </a:p>
          <a:p>
            <a:pPr marL="298628" lvl="2" indent="-144856">
              <a:spcBef>
                <a:spcPts val="400"/>
              </a:spcBef>
              <a:buSzPct val="100000"/>
              <a:buFont typeface="Arial Narrow" panose="020B0606020202030204" pitchFamily="34" charset="0"/>
              <a:buChar char="–"/>
            </a:pPr>
            <a:r>
              <a:rPr lang="en-US" sz="1500" noProof="1">
                <a:latin typeface="+mn-lt"/>
                <a:cs typeface="Arial" pitchFamily="34" charset="0"/>
              </a:rPr>
              <a:t>Regulatory</a:t>
            </a:r>
            <a:r>
              <a:rPr lang="en-US" sz="1500" b="0" noProof="1">
                <a:latin typeface="+mn-lt"/>
                <a:cs typeface="Arial" pitchFamily="34" charset="0"/>
              </a:rPr>
              <a:t> reforms</a:t>
            </a:r>
          </a:p>
        </p:txBody>
      </p:sp>
      <p:sp>
        <p:nvSpPr>
          <p:cNvPr id="20" name="Textframe 18"/>
          <p:cNvSpPr>
            <a:spLocks noChangeArrowheads="1"/>
          </p:cNvSpPr>
          <p:nvPr/>
        </p:nvSpPr>
        <p:spPr bwMode="auto">
          <a:xfrm>
            <a:off x="6551208" y="3165516"/>
            <a:ext cx="2605492" cy="3374001"/>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97486" lvl="1" indent="-197486">
              <a:lnSpc>
                <a:spcPct val="93000"/>
              </a:lnSpc>
              <a:spcBef>
                <a:spcPts val="600"/>
              </a:spcBef>
              <a:buSzPct val="100000"/>
              <a:buFont typeface="Arial Narrow"/>
              <a:buChar char="&gt;"/>
            </a:pPr>
            <a:r>
              <a:rPr lang="en-US" sz="1500" b="0" noProof="1">
                <a:latin typeface="+mn-lt"/>
                <a:cs typeface="Arial" pitchFamily="34" charset="0"/>
              </a:rPr>
              <a:t>The Outlook is </a:t>
            </a:r>
            <a:r>
              <a:rPr lang="en-US" sz="1500" noProof="1">
                <a:latin typeface="+mn-lt"/>
                <a:cs typeface="Arial" pitchFamily="34" charset="0"/>
              </a:rPr>
              <a:t>a unique new source of information </a:t>
            </a:r>
            <a:r>
              <a:rPr lang="en-US" sz="1500" b="0" noProof="1">
                <a:latin typeface="+mn-lt"/>
                <a:cs typeface="Arial" pitchFamily="34" charset="0"/>
              </a:rPr>
              <a:t>for investment decision making</a:t>
            </a:r>
          </a:p>
          <a:p>
            <a:pPr marL="197486" lvl="1" indent="-197486">
              <a:lnSpc>
                <a:spcPct val="93000"/>
              </a:lnSpc>
              <a:spcBef>
                <a:spcPts val="600"/>
              </a:spcBef>
              <a:buSzPct val="100000"/>
              <a:buFont typeface="Arial Narrow"/>
              <a:buChar char="&gt;"/>
            </a:pPr>
            <a:r>
              <a:rPr lang="en-US" sz="1500" b="0">
                <a:latin typeface="+mj-lt"/>
                <a:sym typeface="+mn-lt"/>
              </a:rPr>
              <a:t>The Outlook </a:t>
            </a:r>
            <a:r>
              <a:rPr lang="en-US" sz="1500">
                <a:latin typeface="+mj-lt"/>
                <a:sym typeface="+mn-lt"/>
              </a:rPr>
              <a:t>equips investors with a comprehensive overview</a:t>
            </a:r>
            <a:r>
              <a:rPr lang="en-US" sz="1500" b="0">
                <a:latin typeface="+mj-lt"/>
                <a:sym typeface="+mn-lt"/>
              </a:rPr>
              <a:t>, trends and potential future developments in the energy systems to </a:t>
            </a:r>
            <a:r>
              <a:rPr lang="en-US" sz="1500">
                <a:latin typeface="+mj-lt"/>
                <a:sym typeface="+mn-lt"/>
              </a:rPr>
              <a:t>identify investment opportunities</a:t>
            </a:r>
            <a:r>
              <a:rPr lang="en-US" sz="1500" b="0">
                <a:latin typeface="+mj-lt"/>
                <a:sym typeface="+mn-lt"/>
              </a:rPr>
              <a:t> and contribute to their </a:t>
            </a:r>
            <a:r>
              <a:rPr lang="en-US" sz="1500">
                <a:latin typeface="+mj-lt"/>
                <a:sym typeface="+mn-lt"/>
              </a:rPr>
              <a:t>upgrading and decarbonization </a:t>
            </a:r>
          </a:p>
          <a:p>
            <a:pPr marL="197486" lvl="1" indent="-197486">
              <a:lnSpc>
                <a:spcPct val="93000"/>
              </a:lnSpc>
              <a:spcBef>
                <a:spcPts val="600"/>
              </a:spcBef>
              <a:buSzPct val="100000"/>
              <a:buFont typeface="Arial Narrow"/>
              <a:buChar char="&gt;"/>
            </a:pPr>
            <a:r>
              <a:rPr lang="en-US" sz="1500" b="0" noProof="1">
                <a:latin typeface="+mn-lt"/>
                <a:cs typeface="Arial" pitchFamily="34" charset="0"/>
              </a:rPr>
              <a:t>It provides information and recommendations to </a:t>
            </a:r>
            <a:r>
              <a:rPr lang="en-US" sz="1500" noProof="1">
                <a:latin typeface="+mn-lt"/>
                <a:cs typeface="Arial" pitchFamily="34" charset="0"/>
              </a:rPr>
              <a:t>policy</a:t>
            </a:r>
            <a:r>
              <a:rPr lang="en-US" sz="1500" b="0" noProof="1">
                <a:latin typeface="+mn-lt"/>
                <a:cs typeface="Arial" pitchFamily="34" charset="0"/>
              </a:rPr>
              <a:t> </a:t>
            </a:r>
            <a:r>
              <a:rPr lang="en-US" sz="1500" noProof="1">
                <a:latin typeface="+mn-lt"/>
                <a:cs typeface="Arial" pitchFamily="34" charset="0"/>
              </a:rPr>
              <a:t>decision-makers</a:t>
            </a:r>
            <a:r>
              <a:rPr lang="en-US" sz="1500" b="0" noProof="1">
                <a:latin typeface="+mn-lt"/>
                <a:cs typeface="Arial" pitchFamily="34" charset="0"/>
              </a:rPr>
              <a:t> to support their efforts in attracting investments</a:t>
            </a:r>
          </a:p>
        </p:txBody>
      </p:sp>
      <p:sp>
        <p:nvSpPr>
          <p:cNvPr id="21" name="Text Box 3"/>
          <p:cNvSpPr txBox="1">
            <a:spLocks noChangeArrowheads="1"/>
          </p:cNvSpPr>
          <p:nvPr/>
        </p:nvSpPr>
        <p:spPr bwMode="auto">
          <a:xfrm>
            <a:off x="1692110" y="2170192"/>
            <a:ext cx="1713505"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en-US" sz="1900">
                <a:solidFill>
                  <a:schemeClr val="accent6"/>
                </a:solidFill>
                <a:latin typeface="+mn-lt"/>
              </a:rPr>
              <a:t>Why is the Outlook needed?</a:t>
            </a:r>
          </a:p>
        </p:txBody>
      </p:sp>
      <p:sp>
        <p:nvSpPr>
          <p:cNvPr id="22" name="Oval Callout 28"/>
          <p:cNvSpPr/>
          <p:nvPr/>
        </p:nvSpPr>
        <p:spPr>
          <a:xfrm rot="19459346">
            <a:off x="741851"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a:solidFill>
                <a:srgbClr val="000000"/>
              </a:solidFill>
            </a:endParaRPr>
          </a:p>
        </p:txBody>
      </p:sp>
      <p:sp>
        <p:nvSpPr>
          <p:cNvPr id="24" name="Text Box 3"/>
          <p:cNvSpPr txBox="1">
            <a:spLocks noChangeArrowheads="1"/>
          </p:cNvSpPr>
          <p:nvPr/>
        </p:nvSpPr>
        <p:spPr bwMode="auto">
          <a:xfrm>
            <a:off x="4392703" y="2170192"/>
            <a:ext cx="1957464"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en-US" sz="1900">
                <a:solidFill>
                  <a:schemeClr val="accent6"/>
                </a:solidFill>
              </a:rPr>
              <a:t>What it is                  – and what it is not?</a:t>
            </a:r>
          </a:p>
        </p:txBody>
      </p:sp>
      <p:sp>
        <p:nvSpPr>
          <p:cNvPr id="27" name="Text Box 3"/>
          <p:cNvSpPr txBox="1">
            <a:spLocks noChangeArrowheads="1"/>
          </p:cNvSpPr>
          <p:nvPr/>
        </p:nvSpPr>
        <p:spPr bwMode="auto">
          <a:xfrm>
            <a:off x="7316524" y="2170192"/>
            <a:ext cx="1957464"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en-US" sz="1900">
                <a:solidFill>
                  <a:schemeClr val="accent6"/>
                </a:solidFill>
                <a:latin typeface="+mn-lt"/>
              </a:rPr>
              <a:t>What are the objectives?</a:t>
            </a:r>
          </a:p>
        </p:txBody>
      </p:sp>
      <p:sp>
        <p:nvSpPr>
          <p:cNvPr id="29" name="Freeform 9"/>
          <p:cNvSpPr>
            <a:spLocks noEditPoints="1"/>
          </p:cNvSpPr>
          <p:nvPr/>
        </p:nvSpPr>
        <p:spPr bwMode="auto">
          <a:xfrm>
            <a:off x="3650623" y="2348428"/>
            <a:ext cx="395115" cy="483621"/>
          </a:xfrm>
          <a:custGeom>
            <a:avLst/>
            <a:gdLst>
              <a:gd name="T0" fmla="*/ 1548 w 1764"/>
              <a:gd name="T1" fmla="*/ 692 h 2160"/>
              <a:gd name="T2" fmla="*/ 1748 w 1764"/>
              <a:gd name="T3" fmla="*/ 892 h 2160"/>
              <a:gd name="T4" fmla="*/ 1748 w 1764"/>
              <a:gd name="T5" fmla="*/ 948 h 2160"/>
              <a:gd name="T6" fmla="*/ 1108 w 1764"/>
              <a:gd name="T7" fmla="*/ 1588 h 2160"/>
              <a:gd name="T8" fmla="*/ 1094 w 1764"/>
              <a:gd name="T9" fmla="*/ 1597 h 2160"/>
              <a:gd name="T10" fmla="*/ 774 w 1764"/>
              <a:gd name="T11" fmla="*/ 1717 h 2160"/>
              <a:gd name="T12" fmla="*/ 746 w 1764"/>
              <a:gd name="T13" fmla="*/ 1717 h 2160"/>
              <a:gd name="T14" fmla="*/ 723 w 1764"/>
              <a:gd name="T15" fmla="*/ 1666 h 2160"/>
              <a:gd name="T16" fmla="*/ 842 w 1764"/>
              <a:gd name="T17" fmla="*/ 1349 h 2160"/>
              <a:gd name="T18" fmla="*/ 852 w 1764"/>
              <a:gd name="T19" fmla="*/ 1332 h 2160"/>
              <a:gd name="T20" fmla="*/ 1492 w 1764"/>
              <a:gd name="T21" fmla="*/ 692 h 2160"/>
              <a:gd name="T22" fmla="*/ 1548 w 1764"/>
              <a:gd name="T23" fmla="*/ 692 h 2160"/>
              <a:gd name="T24" fmla="*/ 120 w 1764"/>
              <a:gd name="T25" fmla="*/ 240 h 2160"/>
              <a:gd name="T26" fmla="*/ 240 w 1764"/>
              <a:gd name="T27" fmla="*/ 240 h 2160"/>
              <a:gd name="T28" fmla="*/ 240 w 1764"/>
              <a:gd name="T29" fmla="*/ 400 h 2160"/>
              <a:gd name="T30" fmla="*/ 160 w 1764"/>
              <a:gd name="T31" fmla="*/ 400 h 2160"/>
              <a:gd name="T32" fmla="*/ 160 w 1764"/>
              <a:gd name="T33" fmla="*/ 1840 h 2160"/>
              <a:gd name="T34" fmla="*/ 1440 w 1764"/>
              <a:gd name="T35" fmla="*/ 1840 h 2160"/>
              <a:gd name="T36" fmla="*/ 1440 w 1764"/>
              <a:gd name="T37" fmla="*/ 1483 h 2160"/>
              <a:gd name="T38" fmla="*/ 1600 w 1764"/>
              <a:gd name="T39" fmla="*/ 1323 h 2160"/>
              <a:gd name="T40" fmla="*/ 1600 w 1764"/>
              <a:gd name="T41" fmla="*/ 2040 h 2160"/>
              <a:gd name="T42" fmla="*/ 1480 w 1764"/>
              <a:gd name="T43" fmla="*/ 2160 h 2160"/>
              <a:gd name="T44" fmla="*/ 120 w 1764"/>
              <a:gd name="T45" fmla="*/ 2160 h 2160"/>
              <a:gd name="T46" fmla="*/ 0 w 1764"/>
              <a:gd name="T47" fmla="*/ 2040 h 2160"/>
              <a:gd name="T48" fmla="*/ 0 w 1764"/>
              <a:gd name="T49" fmla="*/ 360 h 2160"/>
              <a:gd name="T50" fmla="*/ 120 w 1764"/>
              <a:gd name="T51" fmla="*/ 240 h 2160"/>
              <a:gd name="T52" fmla="*/ 1440 w 1764"/>
              <a:gd name="T53" fmla="*/ 537 h 2160"/>
              <a:gd name="T54" fmla="*/ 1440 w 1764"/>
              <a:gd name="T55" fmla="*/ 400 h 2160"/>
              <a:gd name="T56" fmla="*/ 1360 w 1764"/>
              <a:gd name="T57" fmla="*/ 400 h 2160"/>
              <a:gd name="T58" fmla="*/ 1360 w 1764"/>
              <a:gd name="T59" fmla="*/ 240 h 2160"/>
              <a:gd name="T60" fmla="*/ 1480 w 1764"/>
              <a:gd name="T61" fmla="*/ 240 h 2160"/>
              <a:gd name="T62" fmla="*/ 1600 w 1764"/>
              <a:gd name="T63" fmla="*/ 360 h 2160"/>
              <a:gd name="T64" fmla="*/ 1600 w 1764"/>
              <a:gd name="T65" fmla="*/ 537 h 2160"/>
              <a:gd name="T66" fmla="*/ 1440 w 1764"/>
              <a:gd name="T67" fmla="*/ 537 h 2160"/>
              <a:gd name="T68" fmla="*/ 560 w 1764"/>
              <a:gd name="T69" fmla="*/ 120 h 2160"/>
              <a:gd name="T70" fmla="*/ 680 w 1764"/>
              <a:gd name="T71" fmla="*/ 0 h 2160"/>
              <a:gd name="T72" fmla="*/ 920 w 1764"/>
              <a:gd name="T73" fmla="*/ 0 h 2160"/>
              <a:gd name="T74" fmla="*/ 1040 w 1764"/>
              <a:gd name="T75" fmla="*/ 120 h 2160"/>
              <a:gd name="T76" fmla="*/ 1280 w 1764"/>
              <a:gd name="T77" fmla="*/ 120 h 2160"/>
              <a:gd name="T78" fmla="*/ 1280 w 1764"/>
              <a:gd name="T79" fmla="*/ 560 h 2160"/>
              <a:gd name="T80" fmla="*/ 320 w 1764"/>
              <a:gd name="T81" fmla="*/ 560 h 2160"/>
              <a:gd name="T82" fmla="*/ 320 w 1764"/>
              <a:gd name="T83" fmla="*/ 120 h 2160"/>
              <a:gd name="T84" fmla="*/ 560 w 1764"/>
              <a:gd name="T85" fmla="*/ 120 h 2160"/>
              <a:gd name="T86" fmla="*/ 400 w 1764"/>
              <a:gd name="T87" fmla="*/ 200 h 2160"/>
              <a:gd name="T88" fmla="*/ 400 w 1764"/>
              <a:gd name="T89" fmla="*/ 480 h 2160"/>
              <a:gd name="T90" fmla="*/ 1200 w 1764"/>
              <a:gd name="T91" fmla="*/ 480 h 2160"/>
              <a:gd name="T92" fmla="*/ 1200 w 1764"/>
              <a:gd name="T93" fmla="*/ 200 h 2160"/>
              <a:gd name="T94" fmla="*/ 960 w 1764"/>
              <a:gd name="T95" fmla="*/ 200 h 2160"/>
              <a:gd name="T96" fmla="*/ 960 w 1764"/>
              <a:gd name="T97" fmla="*/ 120 h 2160"/>
              <a:gd name="T98" fmla="*/ 920 w 1764"/>
              <a:gd name="T99" fmla="*/ 80 h 2160"/>
              <a:gd name="T100" fmla="*/ 680 w 1764"/>
              <a:gd name="T101" fmla="*/ 80 h 2160"/>
              <a:gd name="T102" fmla="*/ 640 w 1764"/>
              <a:gd name="T103" fmla="*/ 120 h 2160"/>
              <a:gd name="T104" fmla="*/ 640 w 1764"/>
              <a:gd name="T105" fmla="*/ 200 h 2160"/>
              <a:gd name="T106" fmla="*/ 400 w 1764"/>
              <a:gd name="T107" fmla="*/ 200 h 2160"/>
              <a:gd name="T108" fmla="*/ 508 w 1764"/>
              <a:gd name="T109" fmla="*/ 932 h 2160"/>
              <a:gd name="T110" fmla="*/ 720 w 1764"/>
              <a:gd name="T111" fmla="*/ 1144 h 2160"/>
              <a:gd name="T112" fmla="*/ 1172 w 1764"/>
              <a:gd name="T113" fmla="*/ 692 h 2160"/>
              <a:gd name="T114" fmla="*/ 1228 w 1764"/>
              <a:gd name="T115" fmla="*/ 748 h 2160"/>
              <a:gd name="T116" fmla="*/ 720 w 1764"/>
              <a:gd name="T117" fmla="*/ 1256 h 2160"/>
              <a:gd name="T118" fmla="*/ 452 w 1764"/>
              <a:gd name="T119" fmla="*/ 988 h 2160"/>
              <a:gd name="T120" fmla="*/ 508 w 1764"/>
              <a:gd name="T121" fmla="*/ 9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4" h="2160">
                <a:moveTo>
                  <a:pt x="1548" y="692"/>
                </a:moveTo>
                <a:cubicBezTo>
                  <a:pt x="1748" y="892"/>
                  <a:pt x="1748" y="892"/>
                  <a:pt x="1748" y="892"/>
                </a:cubicBezTo>
                <a:cubicBezTo>
                  <a:pt x="1764" y="907"/>
                  <a:pt x="1764" y="933"/>
                  <a:pt x="1748" y="948"/>
                </a:cubicBezTo>
                <a:cubicBezTo>
                  <a:pt x="1108" y="1588"/>
                  <a:pt x="1108" y="1588"/>
                  <a:pt x="1108" y="1588"/>
                </a:cubicBezTo>
                <a:cubicBezTo>
                  <a:pt x="1104" y="1592"/>
                  <a:pt x="1100" y="1595"/>
                  <a:pt x="1094" y="1597"/>
                </a:cubicBezTo>
                <a:cubicBezTo>
                  <a:pt x="774" y="1717"/>
                  <a:pt x="774" y="1717"/>
                  <a:pt x="774" y="1717"/>
                </a:cubicBezTo>
                <a:cubicBezTo>
                  <a:pt x="765" y="1720"/>
                  <a:pt x="756" y="1721"/>
                  <a:pt x="746" y="1717"/>
                </a:cubicBezTo>
                <a:cubicBezTo>
                  <a:pt x="726" y="1710"/>
                  <a:pt x="715" y="1687"/>
                  <a:pt x="723" y="1666"/>
                </a:cubicBezTo>
                <a:cubicBezTo>
                  <a:pt x="842" y="1349"/>
                  <a:pt x="842" y="1349"/>
                  <a:pt x="842" y="1349"/>
                </a:cubicBezTo>
                <a:cubicBezTo>
                  <a:pt x="843" y="1343"/>
                  <a:pt x="847" y="1337"/>
                  <a:pt x="852" y="1332"/>
                </a:cubicBezTo>
                <a:cubicBezTo>
                  <a:pt x="1492" y="692"/>
                  <a:pt x="1492" y="692"/>
                  <a:pt x="1492" y="692"/>
                </a:cubicBezTo>
                <a:cubicBezTo>
                  <a:pt x="1507" y="676"/>
                  <a:pt x="1533" y="676"/>
                  <a:pt x="1548" y="692"/>
                </a:cubicBezTo>
                <a:close/>
                <a:moveTo>
                  <a:pt x="120" y="240"/>
                </a:moveTo>
                <a:cubicBezTo>
                  <a:pt x="240" y="240"/>
                  <a:pt x="240" y="240"/>
                  <a:pt x="240" y="240"/>
                </a:cubicBezTo>
                <a:cubicBezTo>
                  <a:pt x="240" y="400"/>
                  <a:pt x="240" y="400"/>
                  <a:pt x="240" y="400"/>
                </a:cubicBezTo>
                <a:cubicBezTo>
                  <a:pt x="160" y="400"/>
                  <a:pt x="160" y="400"/>
                  <a:pt x="160" y="400"/>
                </a:cubicBezTo>
                <a:cubicBezTo>
                  <a:pt x="160" y="1840"/>
                  <a:pt x="160" y="1840"/>
                  <a:pt x="160" y="1840"/>
                </a:cubicBezTo>
                <a:cubicBezTo>
                  <a:pt x="1440" y="1840"/>
                  <a:pt x="1440" y="1840"/>
                  <a:pt x="1440" y="1840"/>
                </a:cubicBezTo>
                <a:cubicBezTo>
                  <a:pt x="1440" y="1483"/>
                  <a:pt x="1440" y="1483"/>
                  <a:pt x="1440" y="1483"/>
                </a:cubicBezTo>
                <a:cubicBezTo>
                  <a:pt x="1600" y="1323"/>
                  <a:pt x="1600" y="1323"/>
                  <a:pt x="1600" y="1323"/>
                </a:cubicBezTo>
                <a:cubicBezTo>
                  <a:pt x="1600" y="2040"/>
                  <a:pt x="1600" y="2040"/>
                  <a:pt x="1600" y="2040"/>
                </a:cubicBezTo>
                <a:cubicBezTo>
                  <a:pt x="1600" y="2106"/>
                  <a:pt x="1546" y="2160"/>
                  <a:pt x="1480" y="2160"/>
                </a:cubicBezTo>
                <a:cubicBezTo>
                  <a:pt x="120" y="2160"/>
                  <a:pt x="120" y="2160"/>
                  <a:pt x="120" y="2160"/>
                </a:cubicBezTo>
                <a:cubicBezTo>
                  <a:pt x="54" y="2160"/>
                  <a:pt x="0" y="2106"/>
                  <a:pt x="0" y="2040"/>
                </a:cubicBezTo>
                <a:cubicBezTo>
                  <a:pt x="0" y="360"/>
                  <a:pt x="0" y="360"/>
                  <a:pt x="0" y="360"/>
                </a:cubicBezTo>
                <a:cubicBezTo>
                  <a:pt x="0" y="294"/>
                  <a:pt x="54" y="240"/>
                  <a:pt x="120" y="240"/>
                </a:cubicBezTo>
                <a:close/>
                <a:moveTo>
                  <a:pt x="1440" y="537"/>
                </a:moveTo>
                <a:cubicBezTo>
                  <a:pt x="1440" y="400"/>
                  <a:pt x="1440" y="400"/>
                  <a:pt x="1440" y="400"/>
                </a:cubicBezTo>
                <a:cubicBezTo>
                  <a:pt x="1360" y="400"/>
                  <a:pt x="1360" y="400"/>
                  <a:pt x="1360" y="400"/>
                </a:cubicBezTo>
                <a:cubicBezTo>
                  <a:pt x="1360" y="240"/>
                  <a:pt x="1360" y="240"/>
                  <a:pt x="1360" y="240"/>
                </a:cubicBezTo>
                <a:cubicBezTo>
                  <a:pt x="1480" y="240"/>
                  <a:pt x="1480" y="240"/>
                  <a:pt x="1480" y="240"/>
                </a:cubicBezTo>
                <a:cubicBezTo>
                  <a:pt x="1546" y="240"/>
                  <a:pt x="1600" y="294"/>
                  <a:pt x="1600" y="360"/>
                </a:cubicBezTo>
                <a:cubicBezTo>
                  <a:pt x="1600" y="537"/>
                  <a:pt x="1600" y="537"/>
                  <a:pt x="1600" y="537"/>
                </a:cubicBezTo>
                <a:cubicBezTo>
                  <a:pt x="1549" y="514"/>
                  <a:pt x="1491" y="514"/>
                  <a:pt x="1440" y="537"/>
                </a:cubicBezTo>
                <a:close/>
                <a:moveTo>
                  <a:pt x="560" y="120"/>
                </a:moveTo>
                <a:cubicBezTo>
                  <a:pt x="560" y="54"/>
                  <a:pt x="614" y="0"/>
                  <a:pt x="680" y="0"/>
                </a:cubicBezTo>
                <a:cubicBezTo>
                  <a:pt x="920" y="0"/>
                  <a:pt x="920" y="0"/>
                  <a:pt x="920" y="0"/>
                </a:cubicBezTo>
                <a:cubicBezTo>
                  <a:pt x="986" y="0"/>
                  <a:pt x="1040" y="54"/>
                  <a:pt x="1040" y="120"/>
                </a:cubicBezTo>
                <a:cubicBezTo>
                  <a:pt x="1280" y="120"/>
                  <a:pt x="1280" y="120"/>
                  <a:pt x="1280" y="120"/>
                </a:cubicBezTo>
                <a:cubicBezTo>
                  <a:pt x="1280" y="560"/>
                  <a:pt x="1280" y="560"/>
                  <a:pt x="1280" y="560"/>
                </a:cubicBezTo>
                <a:cubicBezTo>
                  <a:pt x="320" y="560"/>
                  <a:pt x="320" y="560"/>
                  <a:pt x="320" y="560"/>
                </a:cubicBezTo>
                <a:cubicBezTo>
                  <a:pt x="320" y="120"/>
                  <a:pt x="320" y="120"/>
                  <a:pt x="320" y="120"/>
                </a:cubicBezTo>
                <a:lnTo>
                  <a:pt x="560" y="120"/>
                </a:lnTo>
                <a:close/>
                <a:moveTo>
                  <a:pt x="400" y="200"/>
                </a:moveTo>
                <a:cubicBezTo>
                  <a:pt x="400" y="480"/>
                  <a:pt x="400" y="480"/>
                  <a:pt x="400" y="480"/>
                </a:cubicBezTo>
                <a:cubicBezTo>
                  <a:pt x="1200" y="480"/>
                  <a:pt x="1200" y="480"/>
                  <a:pt x="1200" y="480"/>
                </a:cubicBezTo>
                <a:cubicBezTo>
                  <a:pt x="1200" y="200"/>
                  <a:pt x="1200" y="200"/>
                  <a:pt x="1200" y="200"/>
                </a:cubicBezTo>
                <a:cubicBezTo>
                  <a:pt x="960" y="200"/>
                  <a:pt x="960" y="200"/>
                  <a:pt x="960" y="200"/>
                </a:cubicBezTo>
                <a:cubicBezTo>
                  <a:pt x="960" y="120"/>
                  <a:pt x="960" y="120"/>
                  <a:pt x="960" y="120"/>
                </a:cubicBezTo>
                <a:cubicBezTo>
                  <a:pt x="960" y="98"/>
                  <a:pt x="942" y="80"/>
                  <a:pt x="920" y="80"/>
                </a:cubicBezTo>
                <a:cubicBezTo>
                  <a:pt x="680" y="80"/>
                  <a:pt x="680" y="80"/>
                  <a:pt x="680" y="80"/>
                </a:cubicBezTo>
                <a:cubicBezTo>
                  <a:pt x="658" y="80"/>
                  <a:pt x="640" y="98"/>
                  <a:pt x="640" y="120"/>
                </a:cubicBezTo>
                <a:cubicBezTo>
                  <a:pt x="640" y="200"/>
                  <a:pt x="640" y="200"/>
                  <a:pt x="640" y="200"/>
                </a:cubicBezTo>
                <a:lnTo>
                  <a:pt x="400" y="200"/>
                </a:lnTo>
                <a:close/>
                <a:moveTo>
                  <a:pt x="508" y="932"/>
                </a:moveTo>
                <a:cubicBezTo>
                  <a:pt x="720" y="1144"/>
                  <a:pt x="720" y="1144"/>
                  <a:pt x="720" y="1144"/>
                </a:cubicBezTo>
                <a:cubicBezTo>
                  <a:pt x="1172" y="692"/>
                  <a:pt x="1172" y="692"/>
                  <a:pt x="1172" y="692"/>
                </a:cubicBezTo>
                <a:cubicBezTo>
                  <a:pt x="1228" y="748"/>
                  <a:pt x="1228" y="748"/>
                  <a:pt x="1228" y="748"/>
                </a:cubicBezTo>
                <a:cubicBezTo>
                  <a:pt x="720" y="1256"/>
                  <a:pt x="720" y="1256"/>
                  <a:pt x="720" y="1256"/>
                </a:cubicBezTo>
                <a:cubicBezTo>
                  <a:pt x="452" y="988"/>
                  <a:pt x="452" y="988"/>
                  <a:pt x="452" y="988"/>
                </a:cubicBezTo>
                <a:lnTo>
                  <a:pt x="508" y="9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nvGrpSpPr>
          <p:cNvPr id="41" name="Group 25"/>
          <p:cNvGrpSpPr/>
          <p:nvPr/>
        </p:nvGrpSpPr>
        <p:grpSpPr>
          <a:xfrm>
            <a:off x="6508345" y="2375913"/>
            <a:ext cx="563172" cy="392467"/>
            <a:chOff x="1717676" y="3959226"/>
            <a:chExt cx="3571875" cy="2489200"/>
          </a:xfrm>
          <a:solidFill>
            <a:schemeClr val="accent1"/>
          </a:solidFill>
        </p:grpSpPr>
        <p:sp>
          <p:nvSpPr>
            <p:cNvPr id="43" name="Line 5"/>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1" name="Line 6"/>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2" name="Freeform 16"/>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3" name="Freeform 17"/>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4" name="Freeform 18"/>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5" name="Freeform 19"/>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6" name="Freeform 20"/>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7" name="Freeform 21"/>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35" name="rbStamp_Illustrative">
            <a:extLst>
              <a:ext uri="{FF2B5EF4-FFF2-40B4-BE49-F238E27FC236}">
                <a16:creationId xmlns:a16="http://schemas.microsoft.com/office/drawing/2014/main" id="{6598A3E9-E694-48B6-A6FB-07F55CF6CAB3}"/>
              </a:ext>
            </a:extLst>
          </p:cNvPr>
          <p:cNvSpPr txBox="1"/>
          <p:nvPr/>
        </p:nvSpPr>
        <p:spPr>
          <a:xfrm>
            <a:off x="5967382" y="1712535"/>
            <a:ext cx="2677491"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en-US">
                <a:solidFill>
                  <a:schemeClr val="accent6"/>
                </a:solidFill>
                <a:latin typeface="+mn-lt"/>
                <a:cs typeface="Arial Narrow" pitchFamily="34" charset="0"/>
              </a:rPr>
              <a:t>Roland Berger in cooperation with </a:t>
            </a:r>
            <a:r>
              <a:rPr lang="en-US" err="1">
                <a:solidFill>
                  <a:schemeClr val="accent6"/>
                </a:solidFill>
                <a:latin typeface="+mn-lt"/>
                <a:cs typeface="Arial Narrow" pitchFamily="34" charset="0"/>
              </a:rPr>
              <a:t>ILF</a:t>
            </a:r>
            <a:endParaRPr lang="uk-UA" noProof="0">
              <a:solidFill>
                <a:schemeClr val="accent6"/>
              </a:solidFill>
              <a:latin typeface="+mn-lt"/>
              <a:cs typeface="Arial Narrow" pitchFamily="34" charset="0"/>
            </a:endParaRPr>
          </a:p>
        </p:txBody>
      </p:sp>
      <p:pic>
        <p:nvPicPr>
          <p:cNvPr id="36" name="Picture 13">
            <a:extLst>
              <a:ext uri="{FF2B5EF4-FFF2-40B4-BE49-F238E27FC236}">
                <a16:creationId xmlns:a16="http://schemas.microsoft.com/office/drawing/2014/main" id="{87F0BC0A-3978-44F1-88C0-D53E478934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
        <p:nvSpPr>
          <p:cNvPr id="37" name="Subtitle">
            <a:extLst>
              <a:ext uri="{FF2B5EF4-FFF2-40B4-BE49-F238E27FC236}">
                <a16:creationId xmlns:a16="http://schemas.microsoft.com/office/drawing/2014/main" id="{CB153BD9-B5A9-4D0E-B7B3-DC6CB124E333}"/>
              </a:ext>
            </a:extLst>
          </p:cNvPr>
          <p:cNvSpPr txBox="1">
            <a:spLocks/>
          </p:cNvSpPr>
          <p:nvPr>
            <p:custDataLst>
              <p:tags r:id="rId4"/>
            </p:custDataLst>
          </p:nvPr>
        </p:nvSpPr>
        <p:spPr>
          <a:xfrm>
            <a:off x="736600" y="1710570"/>
            <a:ext cx="8534400" cy="290849"/>
          </a:xfrm>
          <a:prstGeom prst="rect">
            <a:avLst/>
          </a:prstGeom>
          <a:noFill/>
          <a:ln w="9525">
            <a:noFill/>
          </a:ln>
        </p:spPr>
        <p:txBody>
          <a:bodyPr vert="horz" wrap="square" lIns="0" tIns="0" rIns="0" bIns="0" rtlCol="0" anchor="t">
            <a:spAutoFit/>
          </a:bodyPr>
          <a:lstStyle/>
          <a:p>
            <a:pPr>
              <a:lnSpc>
                <a:spcPct val="90000"/>
              </a:lnSpc>
              <a:buSzPct val="100000"/>
            </a:pPr>
            <a:r>
              <a:rPr lang="en-US" altLang="zh-CN" sz="2100" b="0" noProof="1">
                <a:solidFill>
                  <a:schemeClr val="tx2"/>
                </a:solidFill>
                <a:latin typeface="+mn-lt"/>
                <a:cs typeface="Arial" pitchFamily="34" charset="0"/>
              </a:rPr>
              <a:t>Background and objectives</a:t>
            </a:r>
          </a:p>
        </p:txBody>
      </p:sp>
      <p:sp>
        <p:nvSpPr>
          <p:cNvPr id="38" name="Source">
            <a:extLst>
              <a:ext uri="{FF2B5EF4-FFF2-40B4-BE49-F238E27FC236}">
                <a16:creationId xmlns:a16="http://schemas.microsoft.com/office/drawing/2014/main" id="{3417E0E5-C40B-4DCA-8815-915E4A4EE70C}"/>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CAREC;</a:t>
            </a:r>
            <a:r>
              <a:rPr lang="en-US" sz="900" b="0">
                <a:latin typeface="+mn-lt"/>
                <a:sym typeface="+mn-lt"/>
              </a:rPr>
              <a:t> Roland Berger</a:t>
            </a:r>
            <a:endParaRPr lang="en-US" sz="900" b="0">
              <a:solidFill>
                <a:schemeClr val="tx1"/>
              </a:solidFill>
              <a:latin typeface="+mn-lt"/>
              <a:cs typeface="+mn-cs"/>
              <a:sym typeface="+mn-lt"/>
            </a:endParaRPr>
          </a:p>
        </p:txBody>
      </p:sp>
      <p:sp>
        <p:nvSpPr>
          <p:cNvPr id="39" name="Freeform 11">
            <a:extLst>
              <a:ext uri="{FF2B5EF4-FFF2-40B4-BE49-F238E27FC236}">
                <a16:creationId xmlns:a16="http://schemas.microsoft.com/office/drawing/2014/main" id="{4D2CB9BB-2860-4852-A520-56D3F497C0A0}"/>
              </a:ext>
            </a:extLst>
          </p:cNvPr>
          <p:cNvSpPr>
            <a:spLocks noChangeAspect="1" noEditPoints="1"/>
          </p:cNvSpPr>
          <p:nvPr/>
        </p:nvSpPr>
        <p:spPr bwMode="auto">
          <a:xfrm>
            <a:off x="840721" y="2291231"/>
            <a:ext cx="275975" cy="483621"/>
          </a:xfrm>
          <a:custGeom>
            <a:avLst/>
            <a:gdLst>
              <a:gd name="T0" fmla="*/ 190 w 190"/>
              <a:gd name="T1" fmla="*/ 91 h 333"/>
              <a:gd name="T2" fmla="*/ 121 w 190"/>
              <a:gd name="T3" fmla="*/ 219 h 333"/>
              <a:gd name="T4" fmla="*/ 53 w 190"/>
              <a:gd name="T5" fmla="*/ 219 h 333"/>
              <a:gd name="T6" fmla="*/ 68 w 190"/>
              <a:gd name="T7" fmla="*/ 169 h 333"/>
              <a:gd name="T8" fmla="*/ 98 w 190"/>
              <a:gd name="T9" fmla="*/ 135 h 333"/>
              <a:gd name="T10" fmla="*/ 121 w 190"/>
              <a:gd name="T11" fmla="*/ 105 h 333"/>
              <a:gd name="T12" fmla="*/ 107 w 190"/>
              <a:gd name="T13" fmla="*/ 69 h 333"/>
              <a:gd name="T14" fmla="*/ 64 w 190"/>
              <a:gd name="T15" fmla="*/ 91 h 333"/>
              <a:gd name="T16" fmla="*/ 0 w 190"/>
              <a:gd name="T17" fmla="*/ 84 h 333"/>
              <a:gd name="T18" fmla="*/ 13 w 190"/>
              <a:gd name="T19" fmla="*/ 40 h 333"/>
              <a:gd name="T20" fmla="*/ 56 w 190"/>
              <a:gd name="T21" fmla="*/ 11 h 333"/>
              <a:gd name="T22" fmla="*/ 171 w 190"/>
              <a:gd name="T23" fmla="*/ 38 h 333"/>
              <a:gd name="T24" fmla="*/ 190 w 190"/>
              <a:gd name="T25" fmla="*/ 91 h 333"/>
              <a:gd name="T26" fmla="*/ 46 w 190"/>
              <a:gd name="T27" fmla="*/ 291 h 333"/>
              <a:gd name="T28" fmla="*/ 73 w 190"/>
              <a:gd name="T29" fmla="*/ 254 h 333"/>
              <a:gd name="T30" fmla="*/ 120 w 190"/>
              <a:gd name="T31" fmla="*/ 265 h 333"/>
              <a:gd name="T32" fmla="*/ 124 w 190"/>
              <a:gd name="T33" fmla="*/ 312 h 333"/>
              <a:gd name="T34" fmla="*/ 79 w 190"/>
              <a:gd name="T35" fmla="*/ 330 h 333"/>
              <a:gd name="T36" fmla="*/ 46 w 190"/>
              <a:gd name="T37" fmla="*/ 29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 h="333">
                <a:moveTo>
                  <a:pt x="190" y="91"/>
                </a:moveTo>
                <a:cubicBezTo>
                  <a:pt x="190" y="156"/>
                  <a:pt x="121" y="171"/>
                  <a:pt x="121" y="219"/>
                </a:cubicBezTo>
                <a:cubicBezTo>
                  <a:pt x="53" y="219"/>
                  <a:pt x="53" y="219"/>
                  <a:pt x="53" y="219"/>
                </a:cubicBezTo>
                <a:cubicBezTo>
                  <a:pt x="53" y="201"/>
                  <a:pt x="59" y="184"/>
                  <a:pt x="68" y="169"/>
                </a:cubicBezTo>
                <a:cubicBezTo>
                  <a:pt x="76" y="157"/>
                  <a:pt x="87" y="146"/>
                  <a:pt x="98" y="135"/>
                </a:cubicBezTo>
                <a:cubicBezTo>
                  <a:pt x="107" y="127"/>
                  <a:pt x="116" y="117"/>
                  <a:pt x="121" y="105"/>
                </a:cubicBezTo>
                <a:cubicBezTo>
                  <a:pt x="126" y="91"/>
                  <a:pt x="122" y="74"/>
                  <a:pt x="107" y="69"/>
                </a:cubicBezTo>
                <a:cubicBezTo>
                  <a:pt x="90" y="63"/>
                  <a:pt x="64" y="70"/>
                  <a:pt x="64" y="91"/>
                </a:cubicBezTo>
                <a:cubicBezTo>
                  <a:pt x="0" y="84"/>
                  <a:pt x="0" y="84"/>
                  <a:pt x="0" y="84"/>
                </a:cubicBezTo>
                <a:cubicBezTo>
                  <a:pt x="0" y="69"/>
                  <a:pt x="4" y="53"/>
                  <a:pt x="13" y="40"/>
                </a:cubicBezTo>
                <a:cubicBezTo>
                  <a:pt x="24" y="25"/>
                  <a:pt x="39" y="15"/>
                  <a:pt x="56" y="11"/>
                </a:cubicBezTo>
                <a:cubicBezTo>
                  <a:pt x="94" y="0"/>
                  <a:pt x="144" y="7"/>
                  <a:pt x="171" y="38"/>
                </a:cubicBezTo>
                <a:cubicBezTo>
                  <a:pt x="183" y="53"/>
                  <a:pt x="190" y="72"/>
                  <a:pt x="190" y="91"/>
                </a:cubicBezTo>
                <a:close/>
                <a:moveTo>
                  <a:pt x="46" y="291"/>
                </a:moveTo>
                <a:cubicBezTo>
                  <a:pt x="46" y="274"/>
                  <a:pt x="56" y="259"/>
                  <a:pt x="73" y="254"/>
                </a:cubicBezTo>
                <a:cubicBezTo>
                  <a:pt x="89" y="248"/>
                  <a:pt x="108" y="252"/>
                  <a:pt x="120" y="265"/>
                </a:cubicBezTo>
                <a:cubicBezTo>
                  <a:pt x="131" y="278"/>
                  <a:pt x="132" y="298"/>
                  <a:pt x="124" y="312"/>
                </a:cubicBezTo>
                <a:cubicBezTo>
                  <a:pt x="114" y="327"/>
                  <a:pt x="96" y="333"/>
                  <a:pt x="79" y="330"/>
                </a:cubicBezTo>
                <a:cubicBezTo>
                  <a:pt x="60" y="326"/>
                  <a:pt x="46" y="311"/>
                  <a:pt x="46" y="291"/>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11">
            <a:extLst>
              <a:ext uri="{FF2B5EF4-FFF2-40B4-BE49-F238E27FC236}">
                <a16:creationId xmlns:a16="http://schemas.microsoft.com/office/drawing/2014/main" id="{94A8092C-6F7A-4B55-89F3-28869BD9905D}"/>
              </a:ext>
            </a:extLst>
          </p:cNvPr>
          <p:cNvSpPr>
            <a:spLocks noChangeAspect="1" noEditPoints="1"/>
          </p:cNvSpPr>
          <p:nvPr/>
        </p:nvSpPr>
        <p:spPr bwMode="auto">
          <a:xfrm>
            <a:off x="1009600" y="2348428"/>
            <a:ext cx="275975" cy="483621"/>
          </a:xfrm>
          <a:custGeom>
            <a:avLst/>
            <a:gdLst>
              <a:gd name="T0" fmla="*/ 190 w 190"/>
              <a:gd name="T1" fmla="*/ 91 h 333"/>
              <a:gd name="T2" fmla="*/ 121 w 190"/>
              <a:gd name="T3" fmla="*/ 219 h 333"/>
              <a:gd name="T4" fmla="*/ 53 w 190"/>
              <a:gd name="T5" fmla="*/ 219 h 333"/>
              <a:gd name="T6" fmla="*/ 68 w 190"/>
              <a:gd name="T7" fmla="*/ 169 h 333"/>
              <a:gd name="T8" fmla="*/ 98 w 190"/>
              <a:gd name="T9" fmla="*/ 135 h 333"/>
              <a:gd name="T10" fmla="*/ 121 w 190"/>
              <a:gd name="T11" fmla="*/ 105 h 333"/>
              <a:gd name="T12" fmla="*/ 107 w 190"/>
              <a:gd name="T13" fmla="*/ 69 h 333"/>
              <a:gd name="T14" fmla="*/ 64 w 190"/>
              <a:gd name="T15" fmla="*/ 91 h 333"/>
              <a:gd name="T16" fmla="*/ 0 w 190"/>
              <a:gd name="T17" fmla="*/ 84 h 333"/>
              <a:gd name="T18" fmla="*/ 13 w 190"/>
              <a:gd name="T19" fmla="*/ 40 h 333"/>
              <a:gd name="T20" fmla="*/ 56 w 190"/>
              <a:gd name="T21" fmla="*/ 11 h 333"/>
              <a:gd name="T22" fmla="*/ 171 w 190"/>
              <a:gd name="T23" fmla="*/ 38 h 333"/>
              <a:gd name="T24" fmla="*/ 190 w 190"/>
              <a:gd name="T25" fmla="*/ 91 h 333"/>
              <a:gd name="T26" fmla="*/ 46 w 190"/>
              <a:gd name="T27" fmla="*/ 291 h 333"/>
              <a:gd name="T28" fmla="*/ 73 w 190"/>
              <a:gd name="T29" fmla="*/ 254 h 333"/>
              <a:gd name="T30" fmla="*/ 120 w 190"/>
              <a:gd name="T31" fmla="*/ 265 h 333"/>
              <a:gd name="T32" fmla="*/ 124 w 190"/>
              <a:gd name="T33" fmla="*/ 312 h 333"/>
              <a:gd name="T34" fmla="*/ 79 w 190"/>
              <a:gd name="T35" fmla="*/ 330 h 333"/>
              <a:gd name="T36" fmla="*/ 46 w 190"/>
              <a:gd name="T37" fmla="*/ 29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 h="333">
                <a:moveTo>
                  <a:pt x="190" y="91"/>
                </a:moveTo>
                <a:cubicBezTo>
                  <a:pt x="190" y="156"/>
                  <a:pt x="121" y="171"/>
                  <a:pt x="121" y="219"/>
                </a:cubicBezTo>
                <a:cubicBezTo>
                  <a:pt x="53" y="219"/>
                  <a:pt x="53" y="219"/>
                  <a:pt x="53" y="219"/>
                </a:cubicBezTo>
                <a:cubicBezTo>
                  <a:pt x="53" y="201"/>
                  <a:pt x="59" y="184"/>
                  <a:pt x="68" y="169"/>
                </a:cubicBezTo>
                <a:cubicBezTo>
                  <a:pt x="76" y="157"/>
                  <a:pt x="87" y="146"/>
                  <a:pt x="98" y="135"/>
                </a:cubicBezTo>
                <a:cubicBezTo>
                  <a:pt x="107" y="127"/>
                  <a:pt x="116" y="117"/>
                  <a:pt x="121" y="105"/>
                </a:cubicBezTo>
                <a:cubicBezTo>
                  <a:pt x="126" y="91"/>
                  <a:pt x="122" y="74"/>
                  <a:pt x="107" y="69"/>
                </a:cubicBezTo>
                <a:cubicBezTo>
                  <a:pt x="90" y="63"/>
                  <a:pt x="64" y="70"/>
                  <a:pt x="64" y="91"/>
                </a:cubicBezTo>
                <a:cubicBezTo>
                  <a:pt x="0" y="84"/>
                  <a:pt x="0" y="84"/>
                  <a:pt x="0" y="84"/>
                </a:cubicBezTo>
                <a:cubicBezTo>
                  <a:pt x="0" y="69"/>
                  <a:pt x="4" y="53"/>
                  <a:pt x="13" y="40"/>
                </a:cubicBezTo>
                <a:cubicBezTo>
                  <a:pt x="24" y="25"/>
                  <a:pt x="39" y="15"/>
                  <a:pt x="56" y="11"/>
                </a:cubicBezTo>
                <a:cubicBezTo>
                  <a:pt x="94" y="0"/>
                  <a:pt x="144" y="7"/>
                  <a:pt x="171" y="38"/>
                </a:cubicBezTo>
                <a:cubicBezTo>
                  <a:pt x="183" y="53"/>
                  <a:pt x="190" y="72"/>
                  <a:pt x="190" y="91"/>
                </a:cubicBezTo>
                <a:close/>
                <a:moveTo>
                  <a:pt x="46" y="291"/>
                </a:moveTo>
                <a:cubicBezTo>
                  <a:pt x="46" y="274"/>
                  <a:pt x="56" y="259"/>
                  <a:pt x="73" y="254"/>
                </a:cubicBezTo>
                <a:cubicBezTo>
                  <a:pt x="89" y="248"/>
                  <a:pt x="108" y="252"/>
                  <a:pt x="120" y="265"/>
                </a:cubicBezTo>
                <a:cubicBezTo>
                  <a:pt x="131" y="278"/>
                  <a:pt x="132" y="298"/>
                  <a:pt x="124" y="312"/>
                </a:cubicBezTo>
                <a:cubicBezTo>
                  <a:pt x="114" y="327"/>
                  <a:pt x="96" y="333"/>
                  <a:pt x="79" y="330"/>
                </a:cubicBezTo>
                <a:cubicBezTo>
                  <a:pt x="60" y="326"/>
                  <a:pt x="46" y="311"/>
                  <a:pt x="46" y="2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3" name="RbSticker">
            <a:extLst>
              <a:ext uri="{FF2B5EF4-FFF2-40B4-BE49-F238E27FC236}">
                <a16:creationId xmlns:a16="http://schemas.microsoft.com/office/drawing/2014/main" id="{C41FD6B9-8341-42CB-9BC3-E694D0616668}"/>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Introduction &amp; methodology</a:t>
            </a:r>
          </a:p>
        </p:txBody>
      </p:sp>
      <p:sp>
        <p:nvSpPr>
          <p:cNvPr id="34" name="RbNavigator">
            <a:extLst>
              <a:ext uri="{FF2B5EF4-FFF2-40B4-BE49-F238E27FC236}">
                <a16:creationId xmlns:a16="http://schemas.microsoft.com/office/drawing/2014/main" id="{898D5A5B-BB58-4B40-8402-8001EAF11C97}"/>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a:solidFill>
                  <a:schemeClr val="bg1"/>
                </a:solidFill>
                <a:latin typeface="+mn-lt"/>
                <a:cs typeface="Arial Narrow" pitchFamily="34" charset="0"/>
              </a:rPr>
              <a:t>A</a:t>
            </a:r>
          </a:p>
        </p:txBody>
      </p:sp>
    </p:spTree>
    <p:extLst>
      <p:ext uri="{BB962C8B-B14F-4D97-AF65-F5344CB8AC3E}">
        <p14:creationId xmlns:p14="http://schemas.microsoft.com/office/powerpoint/2010/main" val="3582767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F9539C-2433-4135-98AA-E7AEA9F67909}"/>
              </a:ext>
            </a:extLst>
          </p:cNvPr>
          <p:cNvGraphicFramePr>
            <a:graphicFrameLocks noChangeAspect="1"/>
          </p:cNvGraphicFramePr>
          <p:nvPr>
            <p:custDataLst>
              <p:tags r:id="rId2"/>
            </p:custDataLst>
            <p:extLst>
              <p:ext uri="{D42A27DB-BD31-4B8C-83A1-F6EECF244321}">
                <p14:modId xmlns:p14="http://schemas.microsoft.com/office/powerpoint/2010/main" val="12992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7" imgW="592" imgH="591" progId="TCLayout.ActiveDocument.1">
                  <p:embed/>
                </p:oleObj>
              </mc:Choice>
              <mc:Fallback>
                <p:oleObj name="think-cell Slide" r:id="rId7" imgW="592" imgH="591" progId="TCLayout.ActiveDocument.1">
                  <p:embed/>
                  <p:pic>
                    <p:nvPicPr>
                      <p:cNvPr id="8" name="Object 7" hidden="1">
                        <a:extLst>
                          <a:ext uri="{FF2B5EF4-FFF2-40B4-BE49-F238E27FC236}">
                            <a16:creationId xmlns:a16="http://schemas.microsoft.com/office/drawing/2014/main" id="{40F9539C-2433-4135-98AA-E7AEA9F679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aphicFrame>
        <p:nvGraphicFramePr>
          <p:cNvPr id="55" name="Chart 54">
            <a:extLst>
              <a:ext uri="{FF2B5EF4-FFF2-40B4-BE49-F238E27FC236}">
                <a16:creationId xmlns:a16="http://schemas.microsoft.com/office/drawing/2014/main" id="{890A7D0D-97CD-47FA-91DD-EA6C92E0378B}"/>
              </a:ext>
            </a:extLst>
          </p:cNvPr>
          <p:cNvGraphicFramePr/>
          <p:nvPr>
            <p:custDataLst>
              <p:tags r:id="rId3"/>
            </p:custDataLst>
            <p:extLst>
              <p:ext uri="{D42A27DB-BD31-4B8C-83A1-F6EECF244321}">
                <p14:modId xmlns:p14="http://schemas.microsoft.com/office/powerpoint/2010/main" val="2120683735"/>
              </p:ext>
            </p:extLst>
          </p:nvPr>
        </p:nvGraphicFramePr>
        <p:xfrm>
          <a:off x="585788" y="2219325"/>
          <a:ext cx="4508500" cy="4271963"/>
        </p:xfrm>
        <a:graphic>
          <a:graphicData uri="http://schemas.openxmlformats.org/drawingml/2006/chart">
            <c:chart xmlns:c="http://schemas.openxmlformats.org/drawingml/2006/chart" xmlns:r="http://schemas.openxmlformats.org/officeDocument/2006/relationships" r:id="rId9"/>
          </a:graphicData>
        </a:graphic>
      </p:graphicFrame>
      <p:sp>
        <p:nvSpPr>
          <p:cNvPr id="7" name="Rectangle 6" hidden="1">
            <a:extLst>
              <a:ext uri="{FF2B5EF4-FFF2-40B4-BE49-F238E27FC236}">
                <a16:creationId xmlns:a16="http://schemas.microsoft.com/office/drawing/2014/main" id="{DA2274EA-70A0-428B-A7A0-A968A26DF35F}"/>
              </a:ext>
            </a:extLst>
          </p:cNvPr>
          <p:cNvSpPr/>
          <p:nvPr>
            <p:custDataLst>
              <p:tags r:id="rId4"/>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a:sym typeface="+mn-lt"/>
            </a:endParaRPr>
          </a:p>
        </p:txBody>
      </p:sp>
      <p:sp>
        <p:nvSpPr>
          <p:cNvPr id="3" name="Title 2">
            <a:extLst>
              <a:ext uri="{FF2B5EF4-FFF2-40B4-BE49-F238E27FC236}">
                <a16:creationId xmlns:a16="http://schemas.microsoft.com/office/drawing/2014/main" id="{E15DB776-ECE1-49CA-A95F-4274ADE64CF6}"/>
              </a:ext>
            </a:extLst>
          </p:cNvPr>
          <p:cNvSpPr>
            <a:spLocks noGrp="1"/>
          </p:cNvSpPr>
          <p:nvPr>
            <p:ph type="title"/>
          </p:nvPr>
        </p:nvSpPr>
        <p:spPr/>
        <p:txBody>
          <a:bodyPr vert="horz"/>
          <a:lstStyle/>
          <a:p>
            <a:r>
              <a:rPr lang="en-US"/>
              <a:t>Three scenarios are defined to assess development under various policy measures and subsequent energy mixes and efficiency levels</a:t>
            </a:r>
            <a:endParaRPr lang="en-GB"/>
          </a:p>
        </p:txBody>
      </p:sp>
      <p:sp>
        <p:nvSpPr>
          <p:cNvPr id="4" name="Subtitle">
            <a:extLst>
              <a:ext uri="{FF2B5EF4-FFF2-40B4-BE49-F238E27FC236}">
                <a16:creationId xmlns:a16="http://schemas.microsoft.com/office/drawing/2014/main" id="{0B16B843-EA4B-4A96-B614-3C8AE7ED980D}"/>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Illustrative overview of the Outlook scenarios</a:t>
            </a:r>
          </a:p>
        </p:txBody>
      </p:sp>
      <p:sp>
        <p:nvSpPr>
          <p:cNvPr id="13" name="Source">
            <a:extLst>
              <a:ext uri="{FF2B5EF4-FFF2-40B4-BE49-F238E27FC236}">
                <a16:creationId xmlns:a16="http://schemas.microsoft.com/office/drawing/2014/main" id="{E1D7E3BF-7743-4B79-8956-6C297D62872F}"/>
              </a:ext>
            </a:extLst>
          </p:cNvPr>
          <p:cNvSpPr txBox="1"/>
          <p:nvPr/>
        </p:nvSpPr>
        <p:spPr>
          <a:xfrm>
            <a:off x="738189" y="6710121"/>
            <a:ext cx="965008" cy="124650"/>
          </a:xfrm>
          <a:prstGeom prst="rect">
            <a:avLst/>
          </a:prstGeom>
          <a:noFill/>
          <a:ln w="9525">
            <a:noFill/>
          </a:ln>
        </p:spPr>
        <p:txBody>
          <a:bodyPr vert="horz" wrap="none" lIns="0" tIns="0" rIns="0" bIns="0" rtlCol="0" anchor="b" anchorCtr="0">
            <a:spAutoFit/>
          </a:bodyPr>
          <a:lstStyle/>
          <a:p>
            <a:pPr marL="0" marR="0" lvl="0" indent="0" algn="l" defTabSz="914400" rtl="0" eaLnBrk="1" fontAlgn="base" latinLnBrk="0" hangingPunct="1">
              <a:lnSpc>
                <a:spcPct val="90000"/>
              </a:lnSpc>
              <a:spcBef>
                <a:spcPct val="0"/>
              </a:spcBef>
              <a:spcAft>
                <a:spcPct val="0"/>
              </a:spcAft>
              <a:buClrTx/>
              <a:buSzPct val="100000"/>
              <a:buFontTx/>
              <a:buNone/>
              <a:tabLst/>
              <a:defRPr/>
            </a:pPr>
            <a:r>
              <a:rPr kumimoji="0" lang="en-US" sz="900" b="0" i="0" u="none" strike="noStrike" kern="1200" cap="none" spc="0" normalizeH="0" baseline="0" noProof="0">
                <a:ln>
                  <a:noFill/>
                </a:ln>
                <a:solidFill>
                  <a:srgbClr val="000000"/>
                </a:solidFill>
                <a:effectLst/>
                <a:uLnTx/>
                <a:uFillTx/>
                <a:latin typeface="Arial Narrow"/>
                <a:ea typeface="+mn-ea"/>
                <a:cs typeface="+mn-cs"/>
                <a:sym typeface="+mn-lt"/>
              </a:rPr>
              <a:t>Source: Roland Berger</a:t>
            </a:r>
          </a:p>
        </p:txBody>
      </p:sp>
      <p:sp>
        <p:nvSpPr>
          <p:cNvPr id="374" name="RBContent113">
            <a:extLst>
              <a:ext uri="{FF2B5EF4-FFF2-40B4-BE49-F238E27FC236}">
                <a16:creationId xmlns:a16="http://schemas.microsoft.com/office/drawing/2014/main" id="{39BD06BF-7C7E-4D41-B65F-A54F4550C249}"/>
              </a:ext>
            </a:extLst>
          </p:cNvPr>
          <p:cNvSpPr txBox="1">
            <a:spLocks/>
          </p:cNvSpPr>
          <p:nvPr/>
        </p:nvSpPr>
        <p:spPr>
          <a:xfrm>
            <a:off x="5709546" y="3263829"/>
            <a:ext cx="3564054" cy="841769"/>
          </a:xfrm>
          <a:prstGeom prst="rect">
            <a:avLst/>
          </a:prstGeom>
          <a:noFill/>
          <a:ln w="9525">
            <a:noFill/>
            <a:prstDash val="solid"/>
          </a:ln>
        </p:spPr>
        <p:txBody>
          <a:bodyPr vert="horz" wrap="square" lIns="0" tIns="0" rIns="0" bIns="0" rtlCol="0">
            <a:spAutoFit/>
          </a:bodyPr>
          <a:lstStyle/>
          <a:p>
            <a:pPr>
              <a:lnSpc>
                <a:spcPct val="90000"/>
              </a:lnSpc>
              <a:spcBef>
                <a:spcPts val="0"/>
              </a:spcBef>
              <a:buSzPct val="100000"/>
            </a:pPr>
            <a:r>
              <a:rPr lang="en-US" sz="1900">
                <a:solidFill>
                  <a:schemeClr val="accent6"/>
                </a:solidFill>
                <a:latin typeface="Arial Narrow"/>
                <a:sym typeface="+mn-lt"/>
              </a:rPr>
              <a:t>Government commitments</a:t>
            </a:r>
          </a:p>
          <a:p>
            <a:pPr>
              <a:lnSpc>
                <a:spcPct val="90000"/>
              </a:lnSpc>
              <a:spcBef>
                <a:spcPts val="300"/>
              </a:spcBef>
              <a:buSzPct val="100000"/>
            </a:pPr>
            <a:r>
              <a:rPr lang="en-US" b="0">
                <a:cs typeface="Arial Narrow" pitchFamily="34" charset="0"/>
              </a:rPr>
              <a:t>Projection considering individual </a:t>
            </a:r>
            <a:r>
              <a:rPr lang="en-US">
                <a:cs typeface="Arial Narrow" pitchFamily="34" charset="0"/>
              </a:rPr>
              <a:t>priorities &amp; pledges of CAREC governments (e.g., NDCs), </a:t>
            </a:r>
            <a:r>
              <a:rPr lang="en-US" b="0">
                <a:cs typeface="Arial Narrow" pitchFamily="34" charset="0"/>
              </a:rPr>
              <a:t>leading to moderate shifts in fuel mix and efficiency improvements</a:t>
            </a:r>
            <a:endParaRPr lang="en-US" b="0">
              <a:latin typeface="Arial Narrow"/>
              <a:sym typeface="+mn-lt"/>
            </a:endParaRPr>
          </a:p>
        </p:txBody>
      </p:sp>
      <p:sp>
        <p:nvSpPr>
          <p:cNvPr id="381" name="RBContent113">
            <a:extLst>
              <a:ext uri="{FF2B5EF4-FFF2-40B4-BE49-F238E27FC236}">
                <a16:creationId xmlns:a16="http://schemas.microsoft.com/office/drawing/2014/main" id="{9DC8CEBA-59F6-49C2-82DF-F989B697E60B}"/>
              </a:ext>
            </a:extLst>
          </p:cNvPr>
          <p:cNvSpPr txBox="1">
            <a:spLocks/>
          </p:cNvSpPr>
          <p:nvPr/>
        </p:nvSpPr>
        <p:spPr>
          <a:xfrm>
            <a:off x="5706945" y="4229976"/>
            <a:ext cx="3533209" cy="841769"/>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sz="1900">
                <a:solidFill>
                  <a:schemeClr val="tx2"/>
                </a:solidFill>
                <a:latin typeface="Arial Narrow"/>
                <a:sym typeface="+mn-lt"/>
              </a:rPr>
              <a:t>Business-as-usual (BAU)</a:t>
            </a:r>
            <a:endParaRPr lang="en-US" sz="1900" b="0">
              <a:solidFill>
                <a:srgbClr val="F8A91E"/>
              </a:solidFill>
              <a:latin typeface="Arial Narrow"/>
              <a:sym typeface="+mn-lt"/>
            </a:endParaRPr>
          </a:p>
          <a:p>
            <a:pPr>
              <a:lnSpc>
                <a:spcPct val="90000"/>
              </a:lnSpc>
              <a:spcBef>
                <a:spcPts val="300"/>
              </a:spcBef>
              <a:buSzPct val="100000"/>
            </a:pPr>
            <a:r>
              <a:rPr lang="en-US" b="0">
                <a:cs typeface="Arial Narrow" pitchFamily="34" charset="0"/>
              </a:rPr>
              <a:t>Projection considering </a:t>
            </a:r>
            <a:r>
              <a:rPr lang="en-US">
                <a:cs typeface="Arial Narrow" pitchFamily="34" charset="0"/>
              </a:rPr>
              <a:t>current energy system and policies, </a:t>
            </a:r>
            <a:r>
              <a:rPr lang="en-US" b="0">
                <a:cs typeface="Arial Narrow" pitchFamily="34" charset="0"/>
              </a:rPr>
              <a:t>with limited changes in the energy mix and efficiency resulting in substantial carbon emissions</a:t>
            </a:r>
            <a:endParaRPr lang="en-US" b="0">
              <a:latin typeface="Arial Narrow"/>
              <a:sym typeface="+mn-lt"/>
            </a:endParaRPr>
          </a:p>
        </p:txBody>
      </p:sp>
      <p:sp>
        <p:nvSpPr>
          <p:cNvPr id="46" name="Rectangle 45" hidden="1">
            <a:extLst>
              <a:ext uri="{FF2B5EF4-FFF2-40B4-BE49-F238E27FC236}">
                <a16:creationId xmlns:a16="http://schemas.microsoft.com/office/drawing/2014/main" id="{F7C0A08A-C5A4-491A-B92F-9EE1307F0EDE}"/>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117" name="Rectangle 116" hidden="1">
            <a:extLst>
              <a:ext uri="{FF2B5EF4-FFF2-40B4-BE49-F238E27FC236}">
                <a16:creationId xmlns:a16="http://schemas.microsoft.com/office/drawing/2014/main" id="{9B2F51E1-DB6B-498F-A908-0D5D6531830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194" name="Rectangle 193" hidden="1">
            <a:extLst>
              <a:ext uri="{FF2B5EF4-FFF2-40B4-BE49-F238E27FC236}">
                <a16:creationId xmlns:a16="http://schemas.microsoft.com/office/drawing/2014/main" id="{ADB55D60-C79E-4D2B-8F3C-BC81800B3ED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234" name="Rectangle 233" hidden="1">
            <a:extLst>
              <a:ext uri="{FF2B5EF4-FFF2-40B4-BE49-F238E27FC236}">
                <a16:creationId xmlns:a16="http://schemas.microsoft.com/office/drawing/2014/main" id="{755FD8FA-4D43-41A2-BE5F-71C20CBEDB7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37" name="RBContent113">
            <a:extLst>
              <a:ext uri="{FF2B5EF4-FFF2-40B4-BE49-F238E27FC236}">
                <a16:creationId xmlns:a16="http://schemas.microsoft.com/office/drawing/2014/main" id="{03870361-FE89-463D-9BD2-9CDE3459034D}"/>
              </a:ext>
            </a:extLst>
          </p:cNvPr>
          <p:cNvSpPr txBox="1">
            <a:spLocks/>
          </p:cNvSpPr>
          <p:nvPr/>
        </p:nvSpPr>
        <p:spPr>
          <a:xfrm>
            <a:off x="5706945" y="2104808"/>
            <a:ext cx="3533209" cy="1034642"/>
          </a:xfrm>
          <a:prstGeom prst="rect">
            <a:avLst/>
          </a:prstGeom>
          <a:noFill/>
          <a:ln w="9525">
            <a:noFill/>
            <a:prstDash val="solid"/>
          </a:ln>
        </p:spPr>
        <p:txBody>
          <a:bodyPr vert="horz" wrap="square" lIns="0" tIns="0" rIns="0" bIns="0" rtlCol="0">
            <a:spAutoFit/>
          </a:bodyPr>
          <a:lstStyle/>
          <a:p>
            <a:pPr>
              <a:lnSpc>
                <a:spcPct val="90000"/>
              </a:lnSpc>
              <a:spcBef>
                <a:spcPts val="0"/>
              </a:spcBef>
              <a:buSzPct val="100000"/>
            </a:pPr>
            <a:r>
              <a:rPr lang="en-US" sz="1900">
                <a:solidFill>
                  <a:srgbClr val="2CA81E"/>
                </a:solidFill>
                <a:latin typeface="Arial Narrow"/>
                <a:sym typeface="+mn-lt"/>
              </a:rPr>
              <a:t>Green Growth</a:t>
            </a:r>
          </a:p>
          <a:p>
            <a:pPr marL="0" lvl="1">
              <a:lnSpc>
                <a:spcPct val="90000"/>
              </a:lnSpc>
              <a:spcBef>
                <a:spcPts val="400"/>
              </a:spcBef>
              <a:buSzPct val="100000"/>
            </a:pPr>
            <a:r>
              <a:rPr lang="en-US" b="0">
                <a:cs typeface="Arial Narrow" pitchFamily="34" charset="0"/>
              </a:rPr>
              <a:t>Projection considering </a:t>
            </a:r>
            <a:r>
              <a:rPr lang="en-US">
                <a:cs typeface="Arial Narrow" pitchFamily="34" charset="0"/>
              </a:rPr>
              <a:t>enhanced energy transition and environmental policies </a:t>
            </a:r>
            <a:r>
              <a:rPr lang="en-US" b="0">
                <a:cs typeface="Arial Narrow" pitchFamily="34" charset="0"/>
              </a:rPr>
              <a:t>(vs the ones pledged by the countries) and</a:t>
            </a:r>
            <a:r>
              <a:rPr lang="en-US"/>
              <a:t> </a:t>
            </a:r>
            <a:r>
              <a:rPr lang="en-US" b="0"/>
              <a:t>accelerated economic development, leading to advanced energy efficiency and lower carbon footprint</a:t>
            </a:r>
            <a:endParaRPr lang="uk-UA" b="0">
              <a:solidFill>
                <a:srgbClr val="0070C0"/>
              </a:solidFill>
              <a:cs typeface="Arial Narrow" pitchFamily="34" charset="0"/>
            </a:endParaRPr>
          </a:p>
        </p:txBody>
      </p:sp>
      <p:sp>
        <p:nvSpPr>
          <p:cNvPr id="15" name="rbStamp_Illustrative">
            <a:extLst>
              <a:ext uri="{FF2B5EF4-FFF2-40B4-BE49-F238E27FC236}">
                <a16:creationId xmlns:a16="http://schemas.microsoft.com/office/drawing/2014/main" id="{DEFC15DD-9887-44BE-ACCF-197D7F1DD1D7}"/>
              </a:ext>
            </a:extLst>
          </p:cNvPr>
          <p:cNvSpPr txBox="1"/>
          <p:nvPr/>
        </p:nvSpPr>
        <p:spPr>
          <a:xfrm>
            <a:off x="8446918" y="1723147"/>
            <a:ext cx="826682"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r">
              <a:lnSpc>
                <a:spcPct val="90000"/>
              </a:lnSpc>
              <a:spcBef>
                <a:spcPts val="400"/>
              </a:spcBef>
              <a:buClr>
                <a:srgbClr val="000000"/>
              </a:buClr>
              <a:buSzPct val="100000"/>
            </a:pPr>
            <a:r>
              <a:rPr lang="en-US" noProof="0">
                <a:solidFill>
                  <a:schemeClr val="accent6"/>
                </a:solidFill>
                <a:latin typeface="+mn-lt"/>
                <a:cs typeface="Arial Narrow" pitchFamily="34" charset="0"/>
              </a:rPr>
              <a:t>Illustrative</a:t>
            </a:r>
            <a:endParaRPr lang="uk-UA" noProof="0">
              <a:solidFill>
                <a:schemeClr val="accent6"/>
              </a:solidFill>
              <a:latin typeface="+mn-lt"/>
              <a:cs typeface="Arial Narrow" pitchFamily="34" charset="0"/>
            </a:endParaRPr>
          </a:p>
        </p:txBody>
      </p:sp>
      <p:sp>
        <p:nvSpPr>
          <p:cNvPr id="39" name="RBContent39">
            <a:extLst>
              <a:ext uri="{FF2B5EF4-FFF2-40B4-BE49-F238E27FC236}">
                <a16:creationId xmlns:a16="http://schemas.microsoft.com/office/drawing/2014/main" id="{755BDB6C-8A88-4751-92AD-7FF16D61359E}"/>
              </a:ext>
            </a:extLst>
          </p:cNvPr>
          <p:cNvSpPr txBox="1">
            <a:spLocks/>
          </p:cNvSpPr>
          <p:nvPr/>
        </p:nvSpPr>
        <p:spPr>
          <a:xfrm>
            <a:off x="1045333" y="2252634"/>
            <a:ext cx="1905000" cy="540148"/>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b="0" i="1">
                <a:latin typeface="+mn-lt"/>
                <a:cs typeface="+mn-cs"/>
                <a:sym typeface="+mn-lt"/>
              </a:rPr>
              <a:t>Energy efficiency </a:t>
            </a:r>
            <a:br>
              <a:rPr lang="en-US" b="0" i="1">
                <a:latin typeface="+mn-lt"/>
                <a:cs typeface="+mn-cs"/>
                <a:sym typeface="+mn-lt"/>
              </a:rPr>
            </a:br>
            <a:r>
              <a:rPr lang="en-US" b="0" i="1">
                <a:latin typeface="+mn-lt"/>
                <a:cs typeface="+mn-cs"/>
                <a:sym typeface="+mn-lt"/>
              </a:rPr>
              <a:t>&amp;</a:t>
            </a:r>
            <a:br>
              <a:rPr lang="en-US" b="0" i="1">
                <a:latin typeface="+mn-lt"/>
                <a:cs typeface="+mn-cs"/>
                <a:sym typeface="+mn-lt"/>
              </a:rPr>
            </a:br>
            <a:r>
              <a:rPr lang="en-US" b="0" i="1">
                <a:latin typeface="+mn-lt"/>
                <a:cs typeface="+mn-cs"/>
                <a:sym typeface="+mn-lt"/>
              </a:rPr>
              <a:t>Carbon footprint </a:t>
            </a:r>
          </a:p>
        </p:txBody>
      </p:sp>
      <p:sp>
        <p:nvSpPr>
          <p:cNvPr id="31" name="Rectangle 30" hidden="1">
            <a:extLst>
              <a:ext uri="{FF2B5EF4-FFF2-40B4-BE49-F238E27FC236}">
                <a16:creationId xmlns:a16="http://schemas.microsoft.com/office/drawing/2014/main" id="{FB675555-FF8F-4024-935C-A62E92ABA189}"/>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54" name="Rectangle 53" hidden="1">
            <a:extLst>
              <a:ext uri="{FF2B5EF4-FFF2-40B4-BE49-F238E27FC236}">
                <a16:creationId xmlns:a16="http://schemas.microsoft.com/office/drawing/2014/main" id="{6A417542-32B8-4918-891A-EE07A932E8F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56" name="Rectangle 55" hidden="1">
            <a:extLst>
              <a:ext uri="{FF2B5EF4-FFF2-40B4-BE49-F238E27FC236}">
                <a16:creationId xmlns:a16="http://schemas.microsoft.com/office/drawing/2014/main" id="{EAA404B6-3CE1-4B71-939D-C6A6DC454EDF}"/>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68" name="Rectangle 67" hidden="1">
            <a:extLst>
              <a:ext uri="{FF2B5EF4-FFF2-40B4-BE49-F238E27FC236}">
                <a16:creationId xmlns:a16="http://schemas.microsoft.com/office/drawing/2014/main" id="{D1E51551-7411-4401-B6C6-F676EDEC5B92}"/>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93" name="Freeform 10">
            <a:extLst>
              <a:ext uri="{FF2B5EF4-FFF2-40B4-BE49-F238E27FC236}">
                <a16:creationId xmlns:a16="http://schemas.microsoft.com/office/drawing/2014/main" id="{F33C0F38-E159-41CF-998A-7402946E490C}"/>
              </a:ext>
            </a:extLst>
          </p:cNvPr>
          <p:cNvSpPr>
            <a:spLocks noChangeAspect="1" noEditPoints="1"/>
          </p:cNvSpPr>
          <p:nvPr/>
        </p:nvSpPr>
        <p:spPr bwMode="auto">
          <a:xfrm>
            <a:off x="5556492" y="5482229"/>
            <a:ext cx="656291" cy="720506"/>
          </a:xfrm>
          <a:custGeom>
            <a:avLst/>
            <a:gdLst>
              <a:gd name="T0" fmla="*/ 1586 w 1690"/>
              <a:gd name="T1" fmla="*/ 904 h 1979"/>
              <a:gd name="T2" fmla="*/ 1526 w 1690"/>
              <a:gd name="T3" fmla="*/ 621 h 1979"/>
              <a:gd name="T4" fmla="*/ 730 w 1690"/>
              <a:gd name="T5" fmla="*/ 8 h 1979"/>
              <a:gd name="T6" fmla="*/ 241 w 1690"/>
              <a:gd name="T7" fmla="*/ 1087 h 1979"/>
              <a:gd name="T8" fmla="*/ 1179 w 1690"/>
              <a:gd name="T9" fmla="*/ 1979 h 1979"/>
              <a:gd name="T10" fmla="*/ 1417 w 1690"/>
              <a:gd name="T11" fmla="*/ 1566 h 1979"/>
              <a:gd name="T12" fmla="*/ 1516 w 1690"/>
              <a:gd name="T13" fmla="*/ 1350 h 1979"/>
              <a:gd name="T14" fmla="*/ 1543 w 1690"/>
              <a:gd name="T15" fmla="*/ 1247 h 1979"/>
              <a:gd name="T16" fmla="*/ 1543 w 1690"/>
              <a:gd name="T17" fmla="*/ 1140 h 1979"/>
              <a:gd name="T18" fmla="*/ 1181 w 1690"/>
              <a:gd name="T19" fmla="*/ 294 h 1979"/>
              <a:gd name="T20" fmla="*/ 1106 w 1690"/>
              <a:gd name="T21" fmla="*/ 289 h 1979"/>
              <a:gd name="T22" fmla="*/ 1181 w 1690"/>
              <a:gd name="T23" fmla="*/ 294 h 1979"/>
              <a:gd name="T24" fmla="*/ 1120 w 1690"/>
              <a:gd name="T25" fmla="*/ 178 h 1979"/>
              <a:gd name="T26" fmla="*/ 1048 w 1690"/>
              <a:gd name="T27" fmla="*/ 199 h 1979"/>
              <a:gd name="T28" fmla="*/ 505 w 1690"/>
              <a:gd name="T29" fmla="*/ 153 h 1979"/>
              <a:gd name="T30" fmla="*/ 539 w 1690"/>
              <a:gd name="T31" fmla="*/ 222 h 1979"/>
              <a:gd name="T32" fmla="*/ 505 w 1690"/>
              <a:gd name="T33" fmla="*/ 153 h 1979"/>
              <a:gd name="T34" fmla="*/ 501 w 1690"/>
              <a:gd name="T35" fmla="*/ 288 h 1979"/>
              <a:gd name="T36" fmla="*/ 425 w 1690"/>
              <a:gd name="T37" fmla="*/ 293 h 1979"/>
              <a:gd name="T38" fmla="*/ 407 w 1690"/>
              <a:gd name="T39" fmla="*/ 393 h 1979"/>
              <a:gd name="T40" fmla="*/ 477 w 1690"/>
              <a:gd name="T41" fmla="*/ 423 h 1979"/>
              <a:gd name="T42" fmla="*/ 407 w 1690"/>
              <a:gd name="T43" fmla="*/ 393 h 1979"/>
              <a:gd name="T44" fmla="*/ 490 w 1690"/>
              <a:gd name="T45" fmla="*/ 499 h 1979"/>
              <a:gd name="T46" fmla="*/ 435 w 1690"/>
              <a:gd name="T47" fmla="*/ 551 h 1979"/>
              <a:gd name="T48" fmla="*/ 505 w 1690"/>
              <a:gd name="T49" fmla="*/ 662 h 1979"/>
              <a:gd name="T50" fmla="*/ 539 w 1690"/>
              <a:gd name="T51" fmla="*/ 594 h 1979"/>
              <a:gd name="T52" fmla="*/ 505 w 1690"/>
              <a:gd name="T53" fmla="*/ 662 h 1979"/>
              <a:gd name="T54" fmla="*/ 906 w 1690"/>
              <a:gd name="T55" fmla="*/ 910 h 1979"/>
              <a:gd name="T56" fmla="*/ 823 w 1690"/>
              <a:gd name="T57" fmla="*/ 957 h 1979"/>
              <a:gd name="T58" fmla="*/ 731 w 1690"/>
              <a:gd name="T59" fmla="*/ 922 h 1979"/>
              <a:gd name="T60" fmla="*/ 651 w 1690"/>
              <a:gd name="T61" fmla="*/ 843 h 1979"/>
              <a:gd name="T62" fmla="*/ 803 w 1690"/>
              <a:gd name="T63" fmla="*/ 790 h 1979"/>
              <a:gd name="T64" fmla="*/ 955 w 1690"/>
              <a:gd name="T65" fmla="*/ 843 h 1979"/>
              <a:gd name="T66" fmla="*/ 803 w 1690"/>
              <a:gd name="T67" fmla="*/ 759 h 1979"/>
              <a:gd name="T68" fmla="*/ 604 w 1690"/>
              <a:gd name="T69" fmla="*/ 611 h 1979"/>
              <a:gd name="T70" fmla="*/ 804 w 1690"/>
              <a:gd name="T71" fmla="*/ 151 h 1979"/>
              <a:gd name="T72" fmla="*/ 1077 w 1690"/>
              <a:gd name="T73" fmla="*/ 410 h 1979"/>
              <a:gd name="T74" fmla="*/ 957 w 1690"/>
              <a:gd name="T75" fmla="*/ 696 h 1979"/>
              <a:gd name="T76" fmla="*/ 1048 w 1690"/>
              <a:gd name="T77" fmla="*/ 619 h 1979"/>
              <a:gd name="T78" fmla="*/ 1120 w 1690"/>
              <a:gd name="T79" fmla="*/ 640 h 1979"/>
              <a:gd name="T80" fmla="*/ 1171 w 1690"/>
              <a:gd name="T81" fmla="*/ 552 h 1979"/>
              <a:gd name="T82" fmla="*/ 1116 w 1690"/>
              <a:gd name="T83" fmla="*/ 500 h 1979"/>
              <a:gd name="T84" fmla="*/ 1171 w 1690"/>
              <a:gd name="T85" fmla="*/ 552 h 1979"/>
              <a:gd name="T86" fmla="*/ 1129 w 1690"/>
              <a:gd name="T87" fmla="*/ 424 h 1979"/>
              <a:gd name="T88" fmla="*/ 1199 w 1690"/>
              <a:gd name="T89" fmla="*/ 394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0" h="1979">
                <a:moveTo>
                  <a:pt x="1682" y="1045"/>
                </a:moveTo>
                <a:cubicBezTo>
                  <a:pt x="1678" y="1009"/>
                  <a:pt x="1666" y="1009"/>
                  <a:pt x="1586" y="904"/>
                </a:cubicBezTo>
                <a:cubicBezTo>
                  <a:pt x="1506" y="798"/>
                  <a:pt x="1518" y="809"/>
                  <a:pt x="1506" y="793"/>
                </a:cubicBezTo>
                <a:cubicBezTo>
                  <a:pt x="1494" y="777"/>
                  <a:pt x="1522" y="713"/>
                  <a:pt x="1526" y="621"/>
                </a:cubicBezTo>
                <a:cubicBezTo>
                  <a:pt x="1530" y="529"/>
                  <a:pt x="1504" y="435"/>
                  <a:pt x="1462" y="325"/>
                </a:cubicBezTo>
                <a:cubicBezTo>
                  <a:pt x="1346" y="23"/>
                  <a:pt x="834" y="0"/>
                  <a:pt x="730" y="8"/>
                </a:cubicBezTo>
                <a:cubicBezTo>
                  <a:pt x="360" y="37"/>
                  <a:pt x="208" y="270"/>
                  <a:pt x="142" y="377"/>
                </a:cubicBezTo>
                <a:cubicBezTo>
                  <a:pt x="0" y="608"/>
                  <a:pt x="73" y="899"/>
                  <a:pt x="241" y="1087"/>
                </a:cubicBezTo>
                <a:cubicBezTo>
                  <a:pt x="438" y="1296"/>
                  <a:pt x="970" y="1349"/>
                  <a:pt x="1165" y="1979"/>
                </a:cubicBezTo>
                <a:cubicBezTo>
                  <a:pt x="1179" y="1979"/>
                  <a:pt x="1179" y="1979"/>
                  <a:pt x="1179" y="1979"/>
                </a:cubicBezTo>
                <a:cubicBezTo>
                  <a:pt x="1179" y="1925"/>
                  <a:pt x="1179" y="1640"/>
                  <a:pt x="1197" y="1607"/>
                </a:cubicBezTo>
                <a:cubicBezTo>
                  <a:pt x="1215" y="1574"/>
                  <a:pt x="1288" y="1572"/>
                  <a:pt x="1417" y="1566"/>
                </a:cubicBezTo>
                <a:cubicBezTo>
                  <a:pt x="1545" y="1560"/>
                  <a:pt x="1549" y="1507"/>
                  <a:pt x="1554" y="1466"/>
                </a:cubicBezTo>
                <a:cubicBezTo>
                  <a:pt x="1559" y="1426"/>
                  <a:pt x="1519" y="1364"/>
                  <a:pt x="1516" y="1350"/>
                </a:cubicBezTo>
                <a:cubicBezTo>
                  <a:pt x="1513" y="1335"/>
                  <a:pt x="1558" y="1310"/>
                  <a:pt x="1561" y="1284"/>
                </a:cubicBezTo>
                <a:cubicBezTo>
                  <a:pt x="1565" y="1259"/>
                  <a:pt x="1543" y="1251"/>
                  <a:pt x="1543" y="1247"/>
                </a:cubicBezTo>
                <a:cubicBezTo>
                  <a:pt x="1544" y="1243"/>
                  <a:pt x="1562" y="1230"/>
                  <a:pt x="1564" y="1214"/>
                </a:cubicBezTo>
                <a:cubicBezTo>
                  <a:pt x="1566" y="1199"/>
                  <a:pt x="1542" y="1155"/>
                  <a:pt x="1543" y="1140"/>
                </a:cubicBezTo>
                <a:cubicBezTo>
                  <a:pt x="1548" y="1081"/>
                  <a:pt x="1690" y="1109"/>
                  <a:pt x="1682" y="1045"/>
                </a:cubicBezTo>
                <a:close/>
                <a:moveTo>
                  <a:pt x="1181" y="294"/>
                </a:moveTo>
                <a:cubicBezTo>
                  <a:pt x="1116" y="318"/>
                  <a:pt x="1116" y="318"/>
                  <a:pt x="1116" y="318"/>
                </a:cubicBezTo>
                <a:cubicBezTo>
                  <a:pt x="1106" y="289"/>
                  <a:pt x="1106" y="289"/>
                  <a:pt x="1106" y="289"/>
                </a:cubicBezTo>
                <a:cubicBezTo>
                  <a:pt x="1171" y="265"/>
                  <a:pt x="1171" y="265"/>
                  <a:pt x="1171" y="265"/>
                </a:cubicBezTo>
                <a:lnTo>
                  <a:pt x="1181" y="294"/>
                </a:lnTo>
                <a:close/>
                <a:moveTo>
                  <a:pt x="1101" y="154"/>
                </a:moveTo>
                <a:cubicBezTo>
                  <a:pt x="1120" y="178"/>
                  <a:pt x="1120" y="178"/>
                  <a:pt x="1120" y="178"/>
                </a:cubicBezTo>
                <a:cubicBezTo>
                  <a:pt x="1067" y="222"/>
                  <a:pt x="1067" y="222"/>
                  <a:pt x="1067" y="222"/>
                </a:cubicBezTo>
                <a:cubicBezTo>
                  <a:pt x="1048" y="199"/>
                  <a:pt x="1048" y="199"/>
                  <a:pt x="1048" y="199"/>
                </a:cubicBezTo>
                <a:lnTo>
                  <a:pt x="1101" y="154"/>
                </a:lnTo>
                <a:close/>
                <a:moveTo>
                  <a:pt x="505" y="153"/>
                </a:moveTo>
                <a:cubicBezTo>
                  <a:pt x="559" y="198"/>
                  <a:pt x="559" y="198"/>
                  <a:pt x="559" y="198"/>
                </a:cubicBezTo>
                <a:cubicBezTo>
                  <a:pt x="539" y="222"/>
                  <a:pt x="539" y="222"/>
                  <a:pt x="539" y="222"/>
                </a:cubicBezTo>
                <a:cubicBezTo>
                  <a:pt x="486" y="177"/>
                  <a:pt x="486" y="177"/>
                  <a:pt x="486" y="177"/>
                </a:cubicBezTo>
                <a:lnTo>
                  <a:pt x="505" y="153"/>
                </a:lnTo>
                <a:close/>
                <a:moveTo>
                  <a:pt x="435" y="264"/>
                </a:moveTo>
                <a:cubicBezTo>
                  <a:pt x="501" y="288"/>
                  <a:pt x="501" y="288"/>
                  <a:pt x="501" y="288"/>
                </a:cubicBezTo>
                <a:cubicBezTo>
                  <a:pt x="490" y="317"/>
                  <a:pt x="490" y="317"/>
                  <a:pt x="490" y="317"/>
                </a:cubicBezTo>
                <a:cubicBezTo>
                  <a:pt x="425" y="293"/>
                  <a:pt x="425" y="293"/>
                  <a:pt x="425" y="293"/>
                </a:cubicBezTo>
                <a:lnTo>
                  <a:pt x="435" y="264"/>
                </a:lnTo>
                <a:close/>
                <a:moveTo>
                  <a:pt x="407" y="393"/>
                </a:moveTo>
                <a:cubicBezTo>
                  <a:pt x="477" y="393"/>
                  <a:pt x="477" y="393"/>
                  <a:pt x="477" y="393"/>
                </a:cubicBezTo>
                <a:cubicBezTo>
                  <a:pt x="477" y="423"/>
                  <a:pt x="477" y="423"/>
                  <a:pt x="477" y="423"/>
                </a:cubicBezTo>
                <a:cubicBezTo>
                  <a:pt x="407" y="423"/>
                  <a:pt x="407" y="423"/>
                  <a:pt x="407" y="423"/>
                </a:cubicBezTo>
                <a:lnTo>
                  <a:pt x="407" y="393"/>
                </a:lnTo>
                <a:close/>
                <a:moveTo>
                  <a:pt x="425" y="523"/>
                </a:moveTo>
                <a:cubicBezTo>
                  <a:pt x="490" y="499"/>
                  <a:pt x="490" y="499"/>
                  <a:pt x="490" y="499"/>
                </a:cubicBezTo>
                <a:cubicBezTo>
                  <a:pt x="501" y="528"/>
                  <a:pt x="501" y="528"/>
                  <a:pt x="501" y="528"/>
                </a:cubicBezTo>
                <a:cubicBezTo>
                  <a:pt x="435" y="551"/>
                  <a:pt x="435" y="551"/>
                  <a:pt x="435" y="551"/>
                </a:cubicBezTo>
                <a:lnTo>
                  <a:pt x="425" y="523"/>
                </a:lnTo>
                <a:close/>
                <a:moveTo>
                  <a:pt x="505" y="662"/>
                </a:moveTo>
                <a:cubicBezTo>
                  <a:pt x="486" y="639"/>
                  <a:pt x="486" y="639"/>
                  <a:pt x="486" y="639"/>
                </a:cubicBezTo>
                <a:cubicBezTo>
                  <a:pt x="539" y="594"/>
                  <a:pt x="539" y="594"/>
                  <a:pt x="539" y="594"/>
                </a:cubicBezTo>
                <a:cubicBezTo>
                  <a:pt x="559" y="618"/>
                  <a:pt x="559" y="618"/>
                  <a:pt x="559" y="618"/>
                </a:cubicBezTo>
                <a:lnTo>
                  <a:pt x="505" y="662"/>
                </a:lnTo>
                <a:close/>
                <a:moveTo>
                  <a:pt x="955" y="843"/>
                </a:moveTo>
                <a:cubicBezTo>
                  <a:pt x="955" y="878"/>
                  <a:pt x="937" y="898"/>
                  <a:pt x="906" y="910"/>
                </a:cubicBezTo>
                <a:cubicBezTo>
                  <a:pt x="875" y="922"/>
                  <a:pt x="875" y="922"/>
                  <a:pt x="875" y="922"/>
                </a:cubicBezTo>
                <a:cubicBezTo>
                  <a:pt x="869" y="945"/>
                  <a:pt x="845" y="957"/>
                  <a:pt x="823" y="957"/>
                </a:cubicBezTo>
                <a:cubicBezTo>
                  <a:pt x="783" y="957"/>
                  <a:pt x="783" y="957"/>
                  <a:pt x="783" y="957"/>
                </a:cubicBezTo>
                <a:cubicBezTo>
                  <a:pt x="761" y="957"/>
                  <a:pt x="737" y="945"/>
                  <a:pt x="731" y="922"/>
                </a:cubicBezTo>
                <a:cubicBezTo>
                  <a:pt x="700" y="910"/>
                  <a:pt x="700" y="910"/>
                  <a:pt x="700" y="910"/>
                </a:cubicBezTo>
                <a:cubicBezTo>
                  <a:pt x="669" y="898"/>
                  <a:pt x="651" y="878"/>
                  <a:pt x="651" y="843"/>
                </a:cubicBezTo>
                <a:cubicBezTo>
                  <a:pt x="651" y="748"/>
                  <a:pt x="651" y="748"/>
                  <a:pt x="651" y="748"/>
                </a:cubicBezTo>
                <a:cubicBezTo>
                  <a:pt x="691" y="779"/>
                  <a:pt x="754" y="790"/>
                  <a:pt x="803" y="790"/>
                </a:cubicBezTo>
                <a:cubicBezTo>
                  <a:pt x="852" y="790"/>
                  <a:pt x="915" y="779"/>
                  <a:pt x="955" y="748"/>
                </a:cubicBezTo>
                <a:lnTo>
                  <a:pt x="955" y="843"/>
                </a:lnTo>
                <a:close/>
                <a:moveTo>
                  <a:pt x="957" y="696"/>
                </a:moveTo>
                <a:cubicBezTo>
                  <a:pt x="948" y="745"/>
                  <a:pt x="842" y="759"/>
                  <a:pt x="803" y="759"/>
                </a:cubicBezTo>
                <a:cubicBezTo>
                  <a:pt x="763" y="759"/>
                  <a:pt x="663" y="745"/>
                  <a:pt x="649" y="698"/>
                </a:cubicBezTo>
                <a:cubicBezTo>
                  <a:pt x="644" y="669"/>
                  <a:pt x="625" y="642"/>
                  <a:pt x="604" y="611"/>
                </a:cubicBezTo>
                <a:cubicBezTo>
                  <a:pt x="569" y="560"/>
                  <a:pt x="529" y="501"/>
                  <a:pt x="529" y="410"/>
                </a:cubicBezTo>
                <a:cubicBezTo>
                  <a:pt x="529" y="232"/>
                  <a:pt x="676" y="151"/>
                  <a:pt x="804" y="151"/>
                </a:cubicBezTo>
                <a:cubicBezTo>
                  <a:pt x="874" y="151"/>
                  <a:pt x="948" y="175"/>
                  <a:pt x="1002" y="226"/>
                </a:cubicBezTo>
                <a:cubicBezTo>
                  <a:pt x="1047" y="268"/>
                  <a:pt x="1077" y="329"/>
                  <a:pt x="1077" y="410"/>
                </a:cubicBezTo>
                <a:cubicBezTo>
                  <a:pt x="1077" y="500"/>
                  <a:pt x="1037" y="559"/>
                  <a:pt x="1002" y="611"/>
                </a:cubicBezTo>
                <a:cubicBezTo>
                  <a:pt x="982" y="641"/>
                  <a:pt x="963" y="668"/>
                  <a:pt x="957" y="696"/>
                </a:cubicBezTo>
                <a:close/>
                <a:moveTo>
                  <a:pt x="1101" y="663"/>
                </a:moveTo>
                <a:cubicBezTo>
                  <a:pt x="1048" y="619"/>
                  <a:pt x="1048" y="619"/>
                  <a:pt x="1048" y="619"/>
                </a:cubicBezTo>
                <a:cubicBezTo>
                  <a:pt x="1067" y="595"/>
                  <a:pt x="1067" y="595"/>
                  <a:pt x="1067" y="595"/>
                </a:cubicBezTo>
                <a:cubicBezTo>
                  <a:pt x="1120" y="640"/>
                  <a:pt x="1120" y="640"/>
                  <a:pt x="1120" y="640"/>
                </a:cubicBezTo>
                <a:lnTo>
                  <a:pt x="1101" y="663"/>
                </a:lnTo>
                <a:close/>
                <a:moveTo>
                  <a:pt x="1171" y="552"/>
                </a:moveTo>
                <a:cubicBezTo>
                  <a:pt x="1106" y="528"/>
                  <a:pt x="1106" y="528"/>
                  <a:pt x="1106" y="528"/>
                </a:cubicBezTo>
                <a:cubicBezTo>
                  <a:pt x="1116" y="500"/>
                  <a:pt x="1116" y="500"/>
                  <a:pt x="1116" y="500"/>
                </a:cubicBezTo>
                <a:cubicBezTo>
                  <a:pt x="1181" y="524"/>
                  <a:pt x="1181" y="524"/>
                  <a:pt x="1181" y="524"/>
                </a:cubicBezTo>
                <a:lnTo>
                  <a:pt x="1171" y="552"/>
                </a:lnTo>
                <a:close/>
                <a:moveTo>
                  <a:pt x="1199" y="424"/>
                </a:moveTo>
                <a:cubicBezTo>
                  <a:pt x="1129" y="424"/>
                  <a:pt x="1129" y="424"/>
                  <a:pt x="1129" y="424"/>
                </a:cubicBezTo>
                <a:cubicBezTo>
                  <a:pt x="1129" y="394"/>
                  <a:pt x="1129" y="394"/>
                  <a:pt x="1129" y="394"/>
                </a:cubicBezTo>
                <a:cubicBezTo>
                  <a:pt x="1199" y="394"/>
                  <a:pt x="1199" y="394"/>
                  <a:pt x="1199" y="394"/>
                </a:cubicBezTo>
                <a:lnTo>
                  <a:pt x="1199" y="4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66" name="Rectangle: Rounded Corners 65">
            <a:extLst>
              <a:ext uri="{FF2B5EF4-FFF2-40B4-BE49-F238E27FC236}">
                <a16:creationId xmlns:a16="http://schemas.microsoft.com/office/drawing/2014/main" id="{32355538-F6F7-4480-B181-D528B8DF015F}"/>
              </a:ext>
            </a:extLst>
          </p:cNvPr>
          <p:cNvSpPr/>
          <p:nvPr/>
        </p:nvSpPr>
        <p:spPr>
          <a:xfrm>
            <a:off x="5419724" y="5303521"/>
            <a:ext cx="3820430" cy="1077922"/>
          </a:xfrm>
          <a:prstGeom prst="roundRect">
            <a:avLst/>
          </a:prstGeom>
          <a:ln w="9525">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720000" tIns="72000" rIns="72000" bIns="72000" rtlCol="0" anchor="t" anchorCtr="0">
            <a:noAutofit/>
          </a:bodyPr>
          <a:lstStyle/>
          <a:p>
            <a:pPr>
              <a:lnSpc>
                <a:spcPct val="90000"/>
              </a:lnSpc>
              <a:spcBef>
                <a:spcPts val="400"/>
              </a:spcBef>
            </a:pPr>
            <a:endParaRPr lang="uk-UA" b="0">
              <a:solidFill>
                <a:schemeClr val="accent5"/>
              </a:solidFill>
            </a:endParaRPr>
          </a:p>
        </p:txBody>
      </p:sp>
      <p:sp>
        <p:nvSpPr>
          <p:cNvPr id="76" name="Rectangle 75">
            <a:extLst>
              <a:ext uri="{FF2B5EF4-FFF2-40B4-BE49-F238E27FC236}">
                <a16:creationId xmlns:a16="http://schemas.microsoft.com/office/drawing/2014/main" id="{22B70AFB-5E75-40F7-94BC-815999FBAC73}"/>
              </a:ext>
            </a:extLst>
          </p:cNvPr>
          <p:cNvSpPr/>
          <p:nvPr/>
        </p:nvSpPr>
        <p:spPr>
          <a:xfrm>
            <a:off x="6406276" y="5376970"/>
            <a:ext cx="2867324" cy="931024"/>
          </a:xfrm>
          <a:prstGeom prst="rect">
            <a:avLst/>
          </a:prstGeom>
        </p:spPr>
        <p:txBody>
          <a:bodyPr wrap="square">
            <a:spAutoFit/>
          </a:bodyPr>
          <a:lstStyle/>
          <a:p>
            <a:pPr>
              <a:lnSpc>
                <a:spcPct val="90000"/>
              </a:lnSpc>
              <a:spcBef>
                <a:spcPts val="600"/>
              </a:spcBef>
            </a:pPr>
            <a:r>
              <a:rPr lang="en-US" sz="1100" b="0"/>
              <a:t>Scenarios should be not treated as predictions of what is likely to happen in the future.</a:t>
            </a:r>
          </a:p>
          <a:p>
            <a:pPr>
              <a:lnSpc>
                <a:spcPct val="90000"/>
              </a:lnSpc>
              <a:spcBef>
                <a:spcPts val="600"/>
              </a:spcBef>
            </a:pPr>
            <a:r>
              <a:rPr lang="en-US" sz="1100" b="0"/>
              <a:t>They rather explore the potential implications of different energy transition paths, helping to inform a judgement about possible outcomes.</a:t>
            </a:r>
            <a:endParaRPr lang="uk-UA" sz="1100" b="0"/>
          </a:p>
        </p:txBody>
      </p:sp>
      <p:sp>
        <p:nvSpPr>
          <p:cNvPr id="78" name="Rectangle 77" hidden="1">
            <a:extLst>
              <a:ext uri="{FF2B5EF4-FFF2-40B4-BE49-F238E27FC236}">
                <a16:creationId xmlns:a16="http://schemas.microsoft.com/office/drawing/2014/main" id="{F0321F2E-6306-4472-8F19-E94C995CEED9}"/>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121" name="Rectangle 120" hidden="1">
            <a:extLst>
              <a:ext uri="{FF2B5EF4-FFF2-40B4-BE49-F238E27FC236}">
                <a16:creationId xmlns:a16="http://schemas.microsoft.com/office/drawing/2014/main" id="{79C9B4D4-342C-4D9C-ADC0-32856FAC10EE}"/>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30" name="Rectangle: Rounded Corners 29">
            <a:extLst>
              <a:ext uri="{FF2B5EF4-FFF2-40B4-BE49-F238E27FC236}">
                <a16:creationId xmlns:a16="http://schemas.microsoft.com/office/drawing/2014/main" id="{AB7DD19C-56F9-44AE-A147-CFE154100E5C}"/>
              </a:ext>
            </a:extLst>
          </p:cNvPr>
          <p:cNvSpPr/>
          <p:nvPr/>
        </p:nvSpPr>
        <p:spPr>
          <a:xfrm>
            <a:off x="4356737" y="2167839"/>
            <a:ext cx="1206352" cy="673326"/>
          </a:xfrm>
          <a:prstGeom prst="roundRect">
            <a:avLst/>
          </a:prstGeom>
          <a:solidFill>
            <a:schemeClr val="bg1">
              <a:alpha val="75000"/>
            </a:schemeClr>
          </a:solidFill>
          <a:ln w="9525">
            <a:solidFill>
              <a:srgbClr val="96D48F"/>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en-US" sz="1500" b="0"/>
          </a:p>
        </p:txBody>
      </p:sp>
      <p:grpSp>
        <p:nvGrpSpPr>
          <p:cNvPr id="27" name="Group 26">
            <a:extLst>
              <a:ext uri="{FF2B5EF4-FFF2-40B4-BE49-F238E27FC236}">
                <a16:creationId xmlns:a16="http://schemas.microsoft.com/office/drawing/2014/main" id="{49CACDC9-4DE0-486D-9B6D-99525E9857AB}"/>
              </a:ext>
            </a:extLst>
          </p:cNvPr>
          <p:cNvGrpSpPr>
            <a:grpSpLocks noChangeAspect="1"/>
          </p:cNvGrpSpPr>
          <p:nvPr/>
        </p:nvGrpSpPr>
        <p:grpSpPr>
          <a:xfrm>
            <a:off x="2344057" y="2679712"/>
            <a:ext cx="246414" cy="164494"/>
            <a:chOff x="709661" y="4071937"/>
            <a:chExt cx="2989262" cy="1995488"/>
          </a:xfrm>
          <a:solidFill>
            <a:schemeClr val="accent5"/>
          </a:solidFill>
        </p:grpSpPr>
        <p:sp>
          <p:nvSpPr>
            <p:cNvPr id="28" name="Freeform 5">
              <a:extLst>
                <a:ext uri="{FF2B5EF4-FFF2-40B4-BE49-F238E27FC236}">
                  <a16:creationId xmlns:a16="http://schemas.microsoft.com/office/drawing/2014/main" id="{108D04C0-4C6C-4239-B5A1-CC46795375FA}"/>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29" name="Freeform 6">
              <a:extLst>
                <a:ext uri="{FF2B5EF4-FFF2-40B4-BE49-F238E27FC236}">
                  <a16:creationId xmlns:a16="http://schemas.microsoft.com/office/drawing/2014/main" id="{DD098AE7-2BEB-4C18-94C3-DC0E89F34E9B}"/>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34" name="Freeform 10">
            <a:extLst>
              <a:ext uri="{FF2B5EF4-FFF2-40B4-BE49-F238E27FC236}">
                <a16:creationId xmlns:a16="http://schemas.microsoft.com/office/drawing/2014/main" id="{76148B9A-3AAD-4E7B-A0DB-FAC2A1108723}"/>
              </a:ext>
            </a:extLst>
          </p:cNvPr>
          <p:cNvSpPr>
            <a:spLocks noChangeAspect="1" noEditPoints="1"/>
          </p:cNvSpPr>
          <p:nvPr/>
        </p:nvSpPr>
        <p:spPr bwMode="auto">
          <a:xfrm rot="5400000">
            <a:off x="4565562" y="2231688"/>
            <a:ext cx="277430" cy="514613"/>
          </a:xfrm>
          <a:custGeom>
            <a:avLst/>
            <a:gdLst>
              <a:gd name="T0" fmla="*/ 960 w 1120"/>
              <a:gd name="T1" fmla="*/ 360 h 2080"/>
              <a:gd name="T2" fmla="*/ 160 w 1120"/>
              <a:gd name="T3" fmla="*/ 360 h 2080"/>
              <a:gd name="T4" fmla="*/ 160 w 1120"/>
              <a:gd name="T5" fmla="*/ 600 h 2080"/>
              <a:gd name="T6" fmla="*/ 960 w 1120"/>
              <a:gd name="T7" fmla="*/ 600 h 2080"/>
              <a:gd name="T8" fmla="*/ 960 w 1120"/>
              <a:gd name="T9" fmla="*/ 360 h 2080"/>
              <a:gd name="T10" fmla="*/ 960 w 1120"/>
              <a:gd name="T11" fmla="*/ 680 h 2080"/>
              <a:gd name="T12" fmla="*/ 160 w 1120"/>
              <a:gd name="T13" fmla="*/ 680 h 2080"/>
              <a:gd name="T14" fmla="*/ 160 w 1120"/>
              <a:gd name="T15" fmla="*/ 920 h 2080"/>
              <a:gd name="T16" fmla="*/ 960 w 1120"/>
              <a:gd name="T17" fmla="*/ 920 h 2080"/>
              <a:gd name="T18" fmla="*/ 960 w 1120"/>
              <a:gd name="T19" fmla="*/ 680 h 2080"/>
              <a:gd name="T20" fmla="*/ 960 w 1120"/>
              <a:gd name="T21" fmla="*/ 1000 h 2080"/>
              <a:gd name="T22" fmla="*/ 160 w 1120"/>
              <a:gd name="T23" fmla="*/ 1000 h 2080"/>
              <a:gd name="T24" fmla="*/ 160 w 1120"/>
              <a:gd name="T25" fmla="*/ 1240 h 2080"/>
              <a:gd name="T26" fmla="*/ 960 w 1120"/>
              <a:gd name="T27" fmla="*/ 1240 h 2080"/>
              <a:gd name="T28" fmla="*/ 960 w 1120"/>
              <a:gd name="T29" fmla="*/ 1000 h 2080"/>
              <a:gd name="T30" fmla="*/ 960 w 1120"/>
              <a:gd name="T31" fmla="*/ 1320 h 2080"/>
              <a:gd name="T32" fmla="*/ 160 w 1120"/>
              <a:gd name="T33" fmla="*/ 1320 h 2080"/>
              <a:gd name="T34" fmla="*/ 160 w 1120"/>
              <a:gd name="T35" fmla="*/ 1560 h 2080"/>
              <a:gd name="T36" fmla="*/ 960 w 1120"/>
              <a:gd name="T37" fmla="*/ 1560 h 2080"/>
              <a:gd name="T38" fmla="*/ 960 w 1120"/>
              <a:gd name="T39" fmla="*/ 1320 h 2080"/>
              <a:gd name="T40" fmla="*/ 960 w 1120"/>
              <a:gd name="T41" fmla="*/ 1640 h 2080"/>
              <a:gd name="T42" fmla="*/ 160 w 1120"/>
              <a:gd name="T43" fmla="*/ 1640 h 2080"/>
              <a:gd name="T44" fmla="*/ 160 w 1120"/>
              <a:gd name="T45" fmla="*/ 1880 h 2080"/>
              <a:gd name="T46" fmla="*/ 960 w 1120"/>
              <a:gd name="T47" fmla="*/ 1880 h 2080"/>
              <a:gd name="T48" fmla="*/ 960 w 1120"/>
              <a:gd name="T49" fmla="*/ 1640 h 2080"/>
              <a:gd name="T50" fmla="*/ 320 w 1120"/>
              <a:gd name="T51" fmla="*/ 160 h 2080"/>
              <a:gd name="T52" fmla="*/ 320 w 1120"/>
              <a:gd name="T53" fmla="*/ 0 h 2080"/>
              <a:gd name="T54" fmla="*/ 800 w 1120"/>
              <a:gd name="T55" fmla="*/ 0 h 2080"/>
              <a:gd name="T56" fmla="*/ 800 w 1120"/>
              <a:gd name="T57" fmla="*/ 160 h 2080"/>
              <a:gd name="T58" fmla="*/ 1120 w 1120"/>
              <a:gd name="T59" fmla="*/ 160 h 2080"/>
              <a:gd name="T60" fmla="*/ 1120 w 1120"/>
              <a:gd name="T61" fmla="*/ 2080 h 2080"/>
              <a:gd name="T62" fmla="*/ 0 w 1120"/>
              <a:gd name="T63" fmla="*/ 2080 h 2080"/>
              <a:gd name="T64" fmla="*/ 0 w 1120"/>
              <a:gd name="T65" fmla="*/ 160 h 2080"/>
              <a:gd name="T66" fmla="*/ 320 w 1120"/>
              <a:gd name="T67" fmla="*/ 1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0" h="2080">
                <a:moveTo>
                  <a:pt x="960" y="360"/>
                </a:moveTo>
                <a:cubicBezTo>
                  <a:pt x="160" y="360"/>
                  <a:pt x="160" y="360"/>
                  <a:pt x="160" y="360"/>
                </a:cubicBezTo>
                <a:cubicBezTo>
                  <a:pt x="160" y="440"/>
                  <a:pt x="160" y="520"/>
                  <a:pt x="160" y="600"/>
                </a:cubicBezTo>
                <a:cubicBezTo>
                  <a:pt x="960" y="600"/>
                  <a:pt x="960" y="600"/>
                  <a:pt x="960" y="600"/>
                </a:cubicBezTo>
                <a:cubicBezTo>
                  <a:pt x="960" y="520"/>
                  <a:pt x="960" y="440"/>
                  <a:pt x="960" y="360"/>
                </a:cubicBezTo>
                <a:close/>
                <a:moveTo>
                  <a:pt x="960" y="680"/>
                </a:moveTo>
                <a:cubicBezTo>
                  <a:pt x="160" y="680"/>
                  <a:pt x="160" y="680"/>
                  <a:pt x="160" y="680"/>
                </a:cubicBezTo>
                <a:cubicBezTo>
                  <a:pt x="160" y="760"/>
                  <a:pt x="160" y="840"/>
                  <a:pt x="160" y="920"/>
                </a:cubicBezTo>
                <a:cubicBezTo>
                  <a:pt x="960" y="920"/>
                  <a:pt x="960" y="920"/>
                  <a:pt x="960" y="920"/>
                </a:cubicBezTo>
                <a:cubicBezTo>
                  <a:pt x="960" y="840"/>
                  <a:pt x="960" y="760"/>
                  <a:pt x="960" y="680"/>
                </a:cubicBezTo>
                <a:close/>
                <a:moveTo>
                  <a:pt x="960" y="1000"/>
                </a:moveTo>
                <a:cubicBezTo>
                  <a:pt x="160" y="1000"/>
                  <a:pt x="160" y="1000"/>
                  <a:pt x="160" y="1000"/>
                </a:cubicBezTo>
                <a:cubicBezTo>
                  <a:pt x="160" y="1080"/>
                  <a:pt x="160" y="1160"/>
                  <a:pt x="160" y="1240"/>
                </a:cubicBezTo>
                <a:cubicBezTo>
                  <a:pt x="960" y="1240"/>
                  <a:pt x="960" y="1240"/>
                  <a:pt x="960" y="1240"/>
                </a:cubicBezTo>
                <a:cubicBezTo>
                  <a:pt x="960" y="1160"/>
                  <a:pt x="960" y="1080"/>
                  <a:pt x="960" y="1000"/>
                </a:cubicBezTo>
                <a:close/>
                <a:moveTo>
                  <a:pt x="960" y="1320"/>
                </a:moveTo>
                <a:cubicBezTo>
                  <a:pt x="160" y="1320"/>
                  <a:pt x="160" y="1320"/>
                  <a:pt x="160" y="1320"/>
                </a:cubicBezTo>
                <a:cubicBezTo>
                  <a:pt x="160" y="1400"/>
                  <a:pt x="160" y="1480"/>
                  <a:pt x="160" y="1560"/>
                </a:cubicBezTo>
                <a:cubicBezTo>
                  <a:pt x="960" y="1560"/>
                  <a:pt x="960" y="1560"/>
                  <a:pt x="960" y="1560"/>
                </a:cubicBezTo>
                <a:cubicBezTo>
                  <a:pt x="960" y="1480"/>
                  <a:pt x="960" y="1400"/>
                  <a:pt x="960" y="1320"/>
                </a:cubicBezTo>
                <a:close/>
                <a:moveTo>
                  <a:pt x="960" y="1640"/>
                </a:moveTo>
                <a:cubicBezTo>
                  <a:pt x="160" y="1640"/>
                  <a:pt x="160" y="1640"/>
                  <a:pt x="160" y="1640"/>
                </a:cubicBezTo>
                <a:cubicBezTo>
                  <a:pt x="160" y="1720"/>
                  <a:pt x="160" y="1800"/>
                  <a:pt x="160" y="1880"/>
                </a:cubicBezTo>
                <a:cubicBezTo>
                  <a:pt x="960" y="1880"/>
                  <a:pt x="960" y="1880"/>
                  <a:pt x="960" y="1880"/>
                </a:cubicBezTo>
                <a:cubicBezTo>
                  <a:pt x="960" y="1800"/>
                  <a:pt x="960" y="1720"/>
                  <a:pt x="960" y="1640"/>
                </a:cubicBezTo>
                <a:close/>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path>
            </a:pathLst>
          </a:custGeom>
          <a:solidFill>
            <a:srgbClr val="96D48F"/>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9" name="Rectangle 8" hidden="1">
            <a:extLst>
              <a:ext uri="{FF2B5EF4-FFF2-40B4-BE49-F238E27FC236}">
                <a16:creationId xmlns:a16="http://schemas.microsoft.com/office/drawing/2014/main" id="{ECE04ACB-2A55-4FCF-A29B-E4FC11CAD768}"/>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10" name="Rectangle 9" hidden="1">
            <a:extLst>
              <a:ext uri="{FF2B5EF4-FFF2-40B4-BE49-F238E27FC236}">
                <a16:creationId xmlns:a16="http://schemas.microsoft.com/office/drawing/2014/main" id="{51F56D1A-3519-47EC-91EE-40B628339743}"/>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11" name="Rectangle 10" hidden="1">
            <a:extLst>
              <a:ext uri="{FF2B5EF4-FFF2-40B4-BE49-F238E27FC236}">
                <a16:creationId xmlns:a16="http://schemas.microsoft.com/office/drawing/2014/main" id="{B3EDEA4D-E2AF-4816-BCA1-6642E8084B3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a:sym typeface="+mn-lt"/>
            </a:endParaRPr>
          </a:p>
        </p:txBody>
      </p:sp>
      <p:sp>
        <p:nvSpPr>
          <p:cNvPr id="38" name="Rectangle: Rounded Corners 37">
            <a:extLst>
              <a:ext uri="{FF2B5EF4-FFF2-40B4-BE49-F238E27FC236}">
                <a16:creationId xmlns:a16="http://schemas.microsoft.com/office/drawing/2014/main" id="{D5092857-774C-48E0-8A28-AF5EABDB8D62}"/>
              </a:ext>
            </a:extLst>
          </p:cNvPr>
          <p:cNvSpPr/>
          <p:nvPr/>
        </p:nvSpPr>
        <p:spPr>
          <a:xfrm>
            <a:off x="4356737" y="3226895"/>
            <a:ext cx="1206352" cy="673326"/>
          </a:xfrm>
          <a:prstGeom prst="roundRect">
            <a:avLst/>
          </a:prstGeom>
          <a:solidFill>
            <a:schemeClr val="bg1">
              <a:alpha val="75000"/>
            </a:schemeClr>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en-US" sz="1500" b="0"/>
          </a:p>
        </p:txBody>
      </p:sp>
      <p:grpSp>
        <p:nvGrpSpPr>
          <p:cNvPr id="40" name="Group 39">
            <a:extLst>
              <a:ext uri="{FF2B5EF4-FFF2-40B4-BE49-F238E27FC236}">
                <a16:creationId xmlns:a16="http://schemas.microsoft.com/office/drawing/2014/main" id="{F1E802A5-1B40-47EC-A88B-D0B3F99887AA}"/>
              </a:ext>
            </a:extLst>
          </p:cNvPr>
          <p:cNvGrpSpPr>
            <a:grpSpLocks noChangeAspect="1"/>
          </p:cNvGrpSpPr>
          <p:nvPr/>
        </p:nvGrpSpPr>
        <p:grpSpPr>
          <a:xfrm>
            <a:off x="4977280" y="3438820"/>
            <a:ext cx="373719" cy="249477"/>
            <a:chOff x="709661" y="4071937"/>
            <a:chExt cx="2989262" cy="1995488"/>
          </a:xfrm>
          <a:solidFill>
            <a:schemeClr val="accent6"/>
          </a:solidFill>
        </p:grpSpPr>
        <p:sp>
          <p:nvSpPr>
            <p:cNvPr id="42" name="Freeform 5">
              <a:extLst>
                <a:ext uri="{FF2B5EF4-FFF2-40B4-BE49-F238E27FC236}">
                  <a16:creationId xmlns:a16="http://schemas.microsoft.com/office/drawing/2014/main" id="{3F3E3CB3-5358-46F4-9112-9D7CFF00CECA}"/>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43" name="Freeform 6">
              <a:extLst>
                <a:ext uri="{FF2B5EF4-FFF2-40B4-BE49-F238E27FC236}">
                  <a16:creationId xmlns:a16="http://schemas.microsoft.com/office/drawing/2014/main" id="{32690C73-1FC1-4E6C-A1CB-6A41A8E93695}"/>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33" name="Freeform 10">
            <a:extLst>
              <a:ext uri="{FF2B5EF4-FFF2-40B4-BE49-F238E27FC236}">
                <a16:creationId xmlns:a16="http://schemas.microsoft.com/office/drawing/2014/main" id="{302D79B0-99F1-4455-8B5C-47A07DB9D955}"/>
              </a:ext>
            </a:extLst>
          </p:cNvPr>
          <p:cNvSpPr>
            <a:spLocks noChangeAspect="1" noEditPoints="1"/>
          </p:cNvSpPr>
          <p:nvPr/>
        </p:nvSpPr>
        <p:spPr bwMode="auto">
          <a:xfrm rot="5400000">
            <a:off x="4528432" y="3386918"/>
            <a:ext cx="190357" cy="353280"/>
          </a:xfrm>
          <a:custGeom>
            <a:avLst/>
            <a:gdLst>
              <a:gd name="T0" fmla="*/ 320 w 1120"/>
              <a:gd name="T1" fmla="*/ 160 h 2080"/>
              <a:gd name="T2" fmla="*/ 320 w 1120"/>
              <a:gd name="T3" fmla="*/ 0 h 2080"/>
              <a:gd name="T4" fmla="*/ 800 w 1120"/>
              <a:gd name="T5" fmla="*/ 0 h 2080"/>
              <a:gd name="T6" fmla="*/ 800 w 1120"/>
              <a:gd name="T7" fmla="*/ 160 h 2080"/>
              <a:gd name="T8" fmla="*/ 1120 w 1120"/>
              <a:gd name="T9" fmla="*/ 160 h 2080"/>
              <a:gd name="T10" fmla="*/ 1120 w 1120"/>
              <a:gd name="T11" fmla="*/ 2080 h 2080"/>
              <a:gd name="T12" fmla="*/ 0 w 1120"/>
              <a:gd name="T13" fmla="*/ 2080 h 2080"/>
              <a:gd name="T14" fmla="*/ 0 w 1120"/>
              <a:gd name="T15" fmla="*/ 160 h 2080"/>
              <a:gd name="T16" fmla="*/ 320 w 1120"/>
              <a:gd name="T17" fmla="*/ 160 h 2080"/>
              <a:gd name="T18" fmla="*/ 160 w 1120"/>
              <a:gd name="T19" fmla="*/ 1000 h 2080"/>
              <a:gd name="T20" fmla="*/ 160 w 1120"/>
              <a:gd name="T21" fmla="*/ 1240 h 2080"/>
              <a:gd name="T22" fmla="*/ 960 w 1120"/>
              <a:gd name="T23" fmla="*/ 1240 h 2080"/>
              <a:gd name="T24" fmla="*/ 960 w 1120"/>
              <a:gd name="T25" fmla="*/ 1000 h 2080"/>
              <a:gd name="T26" fmla="*/ 160 w 1120"/>
              <a:gd name="T27" fmla="*/ 1000 h 2080"/>
              <a:gd name="T28" fmla="*/ 160 w 1120"/>
              <a:gd name="T29" fmla="*/ 1320 h 2080"/>
              <a:gd name="T30" fmla="*/ 160 w 1120"/>
              <a:gd name="T31" fmla="*/ 1560 h 2080"/>
              <a:gd name="T32" fmla="*/ 960 w 1120"/>
              <a:gd name="T33" fmla="*/ 1560 h 2080"/>
              <a:gd name="T34" fmla="*/ 960 w 1120"/>
              <a:gd name="T35" fmla="*/ 1320 h 2080"/>
              <a:gd name="T36" fmla="*/ 160 w 1120"/>
              <a:gd name="T37" fmla="*/ 1320 h 2080"/>
              <a:gd name="T38" fmla="*/ 160 w 1120"/>
              <a:gd name="T39" fmla="*/ 1640 h 2080"/>
              <a:gd name="T40" fmla="*/ 160 w 1120"/>
              <a:gd name="T41" fmla="*/ 1880 h 2080"/>
              <a:gd name="T42" fmla="*/ 960 w 1120"/>
              <a:gd name="T43" fmla="*/ 1880 h 2080"/>
              <a:gd name="T44" fmla="*/ 960 w 1120"/>
              <a:gd name="T45" fmla="*/ 1640 h 2080"/>
              <a:gd name="T46" fmla="*/ 160 w 1120"/>
              <a:gd name="T47" fmla="*/ 16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0" h="2080">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moveTo>
                  <a:pt x="160" y="1000"/>
                </a:moveTo>
                <a:cubicBezTo>
                  <a:pt x="160" y="1080"/>
                  <a:pt x="160" y="1160"/>
                  <a:pt x="160" y="1240"/>
                </a:cubicBezTo>
                <a:cubicBezTo>
                  <a:pt x="960" y="1240"/>
                  <a:pt x="960" y="1240"/>
                  <a:pt x="960" y="1240"/>
                </a:cubicBezTo>
                <a:cubicBezTo>
                  <a:pt x="960" y="1160"/>
                  <a:pt x="960" y="1080"/>
                  <a:pt x="960" y="1000"/>
                </a:cubicBezTo>
                <a:lnTo>
                  <a:pt x="160" y="1000"/>
                </a:lnTo>
                <a:close/>
                <a:moveTo>
                  <a:pt x="160" y="1320"/>
                </a:moveTo>
                <a:cubicBezTo>
                  <a:pt x="160" y="1400"/>
                  <a:pt x="160" y="1480"/>
                  <a:pt x="160" y="1560"/>
                </a:cubicBezTo>
                <a:cubicBezTo>
                  <a:pt x="960" y="1560"/>
                  <a:pt x="960" y="1560"/>
                  <a:pt x="960" y="1560"/>
                </a:cubicBezTo>
                <a:cubicBezTo>
                  <a:pt x="960" y="1480"/>
                  <a:pt x="960" y="1400"/>
                  <a:pt x="960" y="1320"/>
                </a:cubicBezTo>
                <a:lnTo>
                  <a:pt x="160" y="1320"/>
                </a:lnTo>
                <a:close/>
                <a:moveTo>
                  <a:pt x="160" y="1640"/>
                </a:moveTo>
                <a:cubicBezTo>
                  <a:pt x="160" y="1880"/>
                  <a:pt x="160" y="1880"/>
                  <a:pt x="160" y="1880"/>
                </a:cubicBezTo>
                <a:cubicBezTo>
                  <a:pt x="960" y="1880"/>
                  <a:pt x="960" y="1880"/>
                  <a:pt x="960" y="1880"/>
                </a:cubicBezTo>
                <a:cubicBezTo>
                  <a:pt x="960" y="1800"/>
                  <a:pt x="960" y="1720"/>
                  <a:pt x="960" y="1640"/>
                </a:cubicBezTo>
                <a:lnTo>
                  <a:pt x="160" y="16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2" name="Rectangle: Rounded Corners 51">
            <a:extLst>
              <a:ext uri="{FF2B5EF4-FFF2-40B4-BE49-F238E27FC236}">
                <a16:creationId xmlns:a16="http://schemas.microsoft.com/office/drawing/2014/main" id="{BBF70F4C-F807-42C9-9959-041F5B378B72}"/>
              </a:ext>
            </a:extLst>
          </p:cNvPr>
          <p:cNvSpPr/>
          <p:nvPr/>
        </p:nvSpPr>
        <p:spPr>
          <a:xfrm>
            <a:off x="4356737" y="4189207"/>
            <a:ext cx="1206352" cy="673326"/>
          </a:xfrm>
          <a:prstGeom prst="roundRect">
            <a:avLst/>
          </a:prstGeom>
          <a:solidFill>
            <a:schemeClr val="bg1">
              <a:alpha val="75000"/>
            </a:schemeClr>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en-US" sz="1500" b="0"/>
          </a:p>
        </p:txBody>
      </p:sp>
      <p:grpSp>
        <p:nvGrpSpPr>
          <p:cNvPr id="53" name="Group 52">
            <a:extLst>
              <a:ext uri="{FF2B5EF4-FFF2-40B4-BE49-F238E27FC236}">
                <a16:creationId xmlns:a16="http://schemas.microsoft.com/office/drawing/2014/main" id="{6D94F244-1104-452A-A921-A8F1763EDAB3}"/>
              </a:ext>
            </a:extLst>
          </p:cNvPr>
          <p:cNvGrpSpPr>
            <a:grpSpLocks noChangeAspect="1"/>
          </p:cNvGrpSpPr>
          <p:nvPr/>
        </p:nvGrpSpPr>
        <p:grpSpPr>
          <a:xfrm>
            <a:off x="4869842" y="4329412"/>
            <a:ext cx="588594" cy="392917"/>
            <a:chOff x="709661" y="4071937"/>
            <a:chExt cx="2989262" cy="1995488"/>
          </a:xfrm>
          <a:solidFill>
            <a:srgbClr val="B7BBBF"/>
          </a:solidFill>
        </p:grpSpPr>
        <p:sp>
          <p:nvSpPr>
            <p:cNvPr id="57" name="Freeform 5">
              <a:extLst>
                <a:ext uri="{FF2B5EF4-FFF2-40B4-BE49-F238E27FC236}">
                  <a16:creationId xmlns:a16="http://schemas.microsoft.com/office/drawing/2014/main" id="{F4E29749-F9B4-4546-8DF6-4F761C8547D7}"/>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58" name="Freeform 6">
              <a:extLst>
                <a:ext uri="{FF2B5EF4-FFF2-40B4-BE49-F238E27FC236}">
                  <a16:creationId xmlns:a16="http://schemas.microsoft.com/office/drawing/2014/main" id="{C5531182-5291-46C7-B752-D51D548347D5}"/>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67" name="Freeform 10">
            <a:extLst>
              <a:ext uri="{FF2B5EF4-FFF2-40B4-BE49-F238E27FC236}">
                <a16:creationId xmlns:a16="http://schemas.microsoft.com/office/drawing/2014/main" id="{EB7774BD-9F45-4BD5-91C4-1F28B8A05EFC}"/>
              </a:ext>
            </a:extLst>
          </p:cNvPr>
          <p:cNvSpPr>
            <a:spLocks noChangeAspect="1" noEditPoints="1"/>
          </p:cNvSpPr>
          <p:nvPr/>
        </p:nvSpPr>
        <p:spPr bwMode="auto">
          <a:xfrm rot="5400000">
            <a:off x="4502898" y="4398664"/>
            <a:ext cx="137200" cy="254412"/>
          </a:xfrm>
          <a:custGeom>
            <a:avLst/>
            <a:gdLst>
              <a:gd name="T0" fmla="*/ 361 w 1263"/>
              <a:gd name="T1" fmla="*/ 180 h 2342"/>
              <a:gd name="T2" fmla="*/ 361 w 1263"/>
              <a:gd name="T3" fmla="*/ 0 h 2342"/>
              <a:gd name="T4" fmla="*/ 902 w 1263"/>
              <a:gd name="T5" fmla="*/ 0 h 2342"/>
              <a:gd name="T6" fmla="*/ 902 w 1263"/>
              <a:gd name="T7" fmla="*/ 180 h 2342"/>
              <a:gd name="T8" fmla="*/ 1263 w 1263"/>
              <a:gd name="T9" fmla="*/ 180 h 2342"/>
              <a:gd name="T10" fmla="*/ 1263 w 1263"/>
              <a:gd name="T11" fmla="*/ 2342 h 2342"/>
              <a:gd name="T12" fmla="*/ 0 w 1263"/>
              <a:gd name="T13" fmla="*/ 2342 h 2342"/>
              <a:gd name="T14" fmla="*/ 0 w 1263"/>
              <a:gd name="T15" fmla="*/ 180 h 2342"/>
              <a:gd name="T16" fmla="*/ 361 w 1263"/>
              <a:gd name="T17" fmla="*/ 180 h 2342"/>
              <a:gd name="T18" fmla="*/ 180 w 1263"/>
              <a:gd name="T19" fmla="*/ 1847 h 2342"/>
              <a:gd name="T20" fmla="*/ 180 w 1263"/>
              <a:gd name="T21" fmla="*/ 2117 h 2342"/>
              <a:gd name="T22" fmla="*/ 1083 w 1263"/>
              <a:gd name="T23" fmla="*/ 2117 h 2342"/>
              <a:gd name="T24" fmla="*/ 1083 w 1263"/>
              <a:gd name="T25" fmla="*/ 1847 h 2342"/>
              <a:gd name="T26" fmla="*/ 180 w 1263"/>
              <a:gd name="T27" fmla="*/ 1847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3" h="2342">
                <a:moveTo>
                  <a:pt x="361" y="180"/>
                </a:moveTo>
                <a:lnTo>
                  <a:pt x="361" y="0"/>
                </a:lnTo>
                <a:lnTo>
                  <a:pt x="902" y="0"/>
                </a:lnTo>
                <a:lnTo>
                  <a:pt x="902" y="180"/>
                </a:lnTo>
                <a:lnTo>
                  <a:pt x="1263" y="180"/>
                </a:lnTo>
                <a:lnTo>
                  <a:pt x="1263" y="2342"/>
                </a:lnTo>
                <a:lnTo>
                  <a:pt x="0" y="2342"/>
                </a:lnTo>
                <a:lnTo>
                  <a:pt x="0" y="180"/>
                </a:lnTo>
                <a:lnTo>
                  <a:pt x="361" y="180"/>
                </a:lnTo>
                <a:close/>
                <a:moveTo>
                  <a:pt x="180" y="1847"/>
                </a:moveTo>
                <a:lnTo>
                  <a:pt x="180" y="2117"/>
                </a:lnTo>
                <a:lnTo>
                  <a:pt x="1083" y="2117"/>
                </a:lnTo>
                <a:lnTo>
                  <a:pt x="1083" y="1847"/>
                </a:lnTo>
                <a:lnTo>
                  <a:pt x="180" y="1847"/>
                </a:lnTo>
                <a:close/>
              </a:path>
            </a:pathLst>
          </a:custGeom>
          <a:solidFill>
            <a:srgbClr val="B7BBBF"/>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69" name="Freeform 10">
            <a:extLst>
              <a:ext uri="{FF2B5EF4-FFF2-40B4-BE49-F238E27FC236}">
                <a16:creationId xmlns:a16="http://schemas.microsoft.com/office/drawing/2014/main" id="{81AEA353-28DF-4F2D-9122-1BF46B6551A1}"/>
              </a:ext>
            </a:extLst>
          </p:cNvPr>
          <p:cNvSpPr>
            <a:spLocks noChangeAspect="1" noEditPoints="1"/>
          </p:cNvSpPr>
          <p:nvPr/>
        </p:nvSpPr>
        <p:spPr bwMode="auto">
          <a:xfrm rot="5400000">
            <a:off x="2402721" y="2226449"/>
            <a:ext cx="137084" cy="254412"/>
          </a:xfrm>
          <a:custGeom>
            <a:avLst/>
            <a:gdLst>
              <a:gd name="T0" fmla="*/ 320 w 1120"/>
              <a:gd name="T1" fmla="*/ 160 h 2080"/>
              <a:gd name="T2" fmla="*/ 320 w 1120"/>
              <a:gd name="T3" fmla="*/ 0 h 2080"/>
              <a:gd name="T4" fmla="*/ 800 w 1120"/>
              <a:gd name="T5" fmla="*/ 0 h 2080"/>
              <a:gd name="T6" fmla="*/ 800 w 1120"/>
              <a:gd name="T7" fmla="*/ 160 h 2080"/>
              <a:gd name="T8" fmla="*/ 1120 w 1120"/>
              <a:gd name="T9" fmla="*/ 160 h 2080"/>
              <a:gd name="T10" fmla="*/ 1120 w 1120"/>
              <a:gd name="T11" fmla="*/ 2080 h 2080"/>
              <a:gd name="T12" fmla="*/ 0 w 1120"/>
              <a:gd name="T13" fmla="*/ 2080 h 2080"/>
              <a:gd name="T14" fmla="*/ 0 w 1120"/>
              <a:gd name="T15" fmla="*/ 160 h 2080"/>
              <a:gd name="T16" fmla="*/ 320 w 1120"/>
              <a:gd name="T17" fmla="*/ 160 h 2080"/>
              <a:gd name="T18" fmla="*/ 160 w 1120"/>
              <a:gd name="T19" fmla="*/ 1000 h 2080"/>
              <a:gd name="T20" fmla="*/ 160 w 1120"/>
              <a:gd name="T21" fmla="*/ 1240 h 2080"/>
              <a:gd name="T22" fmla="*/ 960 w 1120"/>
              <a:gd name="T23" fmla="*/ 1240 h 2080"/>
              <a:gd name="T24" fmla="*/ 960 w 1120"/>
              <a:gd name="T25" fmla="*/ 1000 h 2080"/>
              <a:gd name="T26" fmla="*/ 160 w 1120"/>
              <a:gd name="T27" fmla="*/ 1000 h 2080"/>
              <a:gd name="T28" fmla="*/ 160 w 1120"/>
              <a:gd name="T29" fmla="*/ 1320 h 2080"/>
              <a:gd name="T30" fmla="*/ 160 w 1120"/>
              <a:gd name="T31" fmla="*/ 1560 h 2080"/>
              <a:gd name="T32" fmla="*/ 960 w 1120"/>
              <a:gd name="T33" fmla="*/ 1560 h 2080"/>
              <a:gd name="T34" fmla="*/ 960 w 1120"/>
              <a:gd name="T35" fmla="*/ 1320 h 2080"/>
              <a:gd name="T36" fmla="*/ 160 w 1120"/>
              <a:gd name="T37" fmla="*/ 1320 h 2080"/>
              <a:gd name="T38" fmla="*/ 160 w 1120"/>
              <a:gd name="T39" fmla="*/ 1640 h 2080"/>
              <a:gd name="T40" fmla="*/ 160 w 1120"/>
              <a:gd name="T41" fmla="*/ 1880 h 2080"/>
              <a:gd name="T42" fmla="*/ 960 w 1120"/>
              <a:gd name="T43" fmla="*/ 1880 h 2080"/>
              <a:gd name="T44" fmla="*/ 960 w 1120"/>
              <a:gd name="T45" fmla="*/ 1640 h 2080"/>
              <a:gd name="T46" fmla="*/ 160 w 1120"/>
              <a:gd name="T47" fmla="*/ 16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0" h="2080">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moveTo>
                  <a:pt x="160" y="1000"/>
                </a:moveTo>
                <a:cubicBezTo>
                  <a:pt x="160" y="1080"/>
                  <a:pt x="160" y="1160"/>
                  <a:pt x="160" y="1240"/>
                </a:cubicBezTo>
                <a:cubicBezTo>
                  <a:pt x="960" y="1240"/>
                  <a:pt x="960" y="1240"/>
                  <a:pt x="960" y="1240"/>
                </a:cubicBezTo>
                <a:cubicBezTo>
                  <a:pt x="960" y="1160"/>
                  <a:pt x="960" y="1080"/>
                  <a:pt x="960" y="1000"/>
                </a:cubicBezTo>
                <a:lnTo>
                  <a:pt x="160" y="1000"/>
                </a:lnTo>
                <a:close/>
                <a:moveTo>
                  <a:pt x="160" y="1320"/>
                </a:moveTo>
                <a:cubicBezTo>
                  <a:pt x="160" y="1400"/>
                  <a:pt x="160" y="1480"/>
                  <a:pt x="160" y="1560"/>
                </a:cubicBezTo>
                <a:cubicBezTo>
                  <a:pt x="960" y="1560"/>
                  <a:pt x="960" y="1560"/>
                  <a:pt x="960" y="1560"/>
                </a:cubicBezTo>
                <a:cubicBezTo>
                  <a:pt x="960" y="1480"/>
                  <a:pt x="960" y="1400"/>
                  <a:pt x="960" y="1320"/>
                </a:cubicBezTo>
                <a:lnTo>
                  <a:pt x="160" y="1320"/>
                </a:lnTo>
                <a:close/>
                <a:moveTo>
                  <a:pt x="160" y="1640"/>
                </a:moveTo>
                <a:cubicBezTo>
                  <a:pt x="160" y="1880"/>
                  <a:pt x="160" y="1880"/>
                  <a:pt x="160" y="1880"/>
                </a:cubicBezTo>
                <a:cubicBezTo>
                  <a:pt x="960" y="1880"/>
                  <a:pt x="960" y="1880"/>
                  <a:pt x="960" y="1880"/>
                </a:cubicBezTo>
                <a:cubicBezTo>
                  <a:pt x="960" y="1800"/>
                  <a:pt x="960" y="1720"/>
                  <a:pt x="960" y="1640"/>
                </a:cubicBezTo>
                <a:lnTo>
                  <a:pt x="160" y="164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nvGrpSpPr>
          <p:cNvPr id="70" name="Group 69">
            <a:extLst>
              <a:ext uri="{FF2B5EF4-FFF2-40B4-BE49-F238E27FC236}">
                <a16:creationId xmlns:a16="http://schemas.microsoft.com/office/drawing/2014/main" id="{AC519933-D608-4460-A38F-1154FDD1A59A}"/>
              </a:ext>
            </a:extLst>
          </p:cNvPr>
          <p:cNvGrpSpPr>
            <a:grpSpLocks noChangeAspect="1"/>
          </p:cNvGrpSpPr>
          <p:nvPr/>
        </p:nvGrpSpPr>
        <p:grpSpPr>
          <a:xfrm>
            <a:off x="5130607" y="2422255"/>
            <a:ext cx="246414" cy="164494"/>
            <a:chOff x="709661" y="4071937"/>
            <a:chExt cx="2989262" cy="1995488"/>
          </a:xfrm>
          <a:solidFill>
            <a:srgbClr val="96D48F"/>
          </a:solidFill>
        </p:grpSpPr>
        <p:sp>
          <p:nvSpPr>
            <p:cNvPr id="71" name="Freeform 5">
              <a:extLst>
                <a:ext uri="{FF2B5EF4-FFF2-40B4-BE49-F238E27FC236}">
                  <a16:creationId xmlns:a16="http://schemas.microsoft.com/office/drawing/2014/main" id="{B0719C80-5C81-4ED7-9536-D5739110885F}"/>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72" name="Freeform 6">
              <a:extLst>
                <a:ext uri="{FF2B5EF4-FFF2-40B4-BE49-F238E27FC236}">
                  <a16:creationId xmlns:a16="http://schemas.microsoft.com/office/drawing/2014/main" id="{07ACE081-F4B8-4943-93BD-0DA3AC3CF112}"/>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mn-lt"/>
              </a:endParaRPr>
            </a:p>
          </p:txBody>
        </p:sp>
      </p:grpSp>
      <p:sp>
        <p:nvSpPr>
          <p:cNvPr id="49" name="RbSticker">
            <a:extLst>
              <a:ext uri="{FF2B5EF4-FFF2-40B4-BE49-F238E27FC236}">
                <a16:creationId xmlns:a16="http://schemas.microsoft.com/office/drawing/2014/main" id="{7208DB62-8335-4F70-8876-809B93B0C900}"/>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Introduction &amp; methodology</a:t>
            </a:r>
          </a:p>
        </p:txBody>
      </p:sp>
      <p:sp>
        <p:nvSpPr>
          <p:cNvPr id="51" name="RbNavigator">
            <a:extLst>
              <a:ext uri="{FF2B5EF4-FFF2-40B4-BE49-F238E27FC236}">
                <a16:creationId xmlns:a16="http://schemas.microsoft.com/office/drawing/2014/main" id="{120B9D57-0496-4E6D-8556-7F0F397F9B5B}"/>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a:solidFill>
                  <a:schemeClr val="bg1"/>
                </a:solidFill>
                <a:latin typeface="+mn-lt"/>
                <a:cs typeface="Arial Narrow" pitchFamily="34" charset="0"/>
              </a:rPr>
              <a:t>A</a:t>
            </a:r>
          </a:p>
        </p:txBody>
      </p:sp>
    </p:spTree>
    <p:extLst>
      <p:ext uri="{BB962C8B-B14F-4D97-AF65-F5344CB8AC3E}">
        <p14:creationId xmlns:p14="http://schemas.microsoft.com/office/powerpoint/2010/main" val="384319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BD852F1B-A23A-487D-8BD0-A1571969ADB6}"/>
              </a:ext>
            </a:extLst>
          </p:cNvPr>
          <p:cNvGraphicFramePr>
            <a:graphicFrameLocks noChangeAspect="1"/>
          </p:cNvGraphicFramePr>
          <p:nvPr>
            <p:custDataLst>
              <p:tags r:id="rId2"/>
            </p:custDataLst>
            <p:extLst>
              <p:ext uri="{D42A27DB-BD31-4B8C-83A1-F6EECF244321}">
                <p14:modId xmlns:p14="http://schemas.microsoft.com/office/powerpoint/2010/main" val="453143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95" imgH="394" progId="TCLayout.ActiveDocument.1">
                  <p:embed/>
                </p:oleObj>
              </mc:Choice>
              <mc:Fallback>
                <p:oleObj name="think-cell Slide" r:id="rId5" imgW="395" imgH="394" progId="TCLayout.ActiveDocument.1">
                  <p:embed/>
                  <p:pic>
                    <p:nvPicPr>
                      <p:cNvPr id="44" name="Object 43" hidden="1">
                        <a:extLst>
                          <a:ext uri="{FF2B5EF4-FFF2-40B4-BE49-F238E27FC236}">
                            <a16:creationId xmlns:a16="http://schemas.microsoft.com/office/drawing/2014/main" id="{BD852F1B-A23A-487D-8BD0-A1571969AD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C03AD2CE-471E-4615-B656-1C023E55329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C32F5720-4BBD-4F67-821C-C6C360006F5D}"/>
              </a:ext>
            </a:extLst>
          </p:cNvPr>
          <p:cNvSpPr>
            <a:spLocks noGrp="1"/>
          </p:cNvSpPr>
          <p:nvPr>
            <p:ph type="title"/>
          </p:nvPr>
        </p:nvSpPr>
        <p:spPr/>
        <p:txBody>
          <a:bodyPr vert="horz"/>
          <a:lstStyle/>
          <a:p>
            <a:r>
              <a:rPr lang="en-US"/>
              <a:t>The Outlook consists of four key elements, all assessed on two levels</a:t>
            </a:r>
            <a:r>
              <a:rPr lang="uk-UA"/>
              <a:t> – </a:t>
            </a:r>
            <a:r>
              <a:rPr lang="en-US"/>
              <a:t>Aggregated for region and country-specific</a:t>
            </a:r>
            <a:endParaRPr lang="uk-UA"/>
          </a:p>
        </p:txBody>
      </p:sp>
      <p:sp>
        <p:nvSpPr>
          <p:cNvPr id="16" name="Subtitle">
            <a:extLst>
              <a:ext uri="{FF2B5EF4-FFF2-40B4-BE49-F238E27FC236}">
                <a16:creationId xmlns:a16="http://schemas.microsoft.com/office/drawing/2014/main" id="{D505CBEB-D6A1-463D-8546-93B0B2B5BE4F}"/>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The structure of the Outlook</a:t>
            </a:r>
          </a:p>
        </p:txBody>
      </p:sp>
      <p:sp>
        <p:nvSpPr>
          <p:cNvPr id="6" name="Title66">
            <a:extLst>
              <a:ext uri="{FF2B5EF4-FFF2-40B4-BE49-F238E27FC236}">
                <a16:creationId xmlns:a16="http://schemas.microsoft.com/office/drawing/2014/main" id="{E63D7917-A77D-4E34-BF50-F7C41404D353}"/>
              </a:ext>
            </a:extLst>
          </p:cNvPr>
          <p:cNvSpPr txBox="1"/>
          <p:nvPr/>
        </p:nvSpPr>
        <p:spPr>
          <a:xfrm>
            <a:off x="6611043" y="3156977"/>
            <a:ext cx="1863533" cy="5979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900" noProof="0">
                <a:solidFill>
                  <a:schemeClr val="accent6"/>
                </a:solidFill>
                <a:latin typeface="+mn-lt"/>
                <a:cs typeface="Arial Narrow" pitchFamily="34" charset="0"/>
              </a:rPr>
              <a:t>Part </a:t>
            </a:r>
            <a:r>
              <a:rPr lang="en-US" sz="1900">
                <a:solidFill>
                  <a:schemeClr val="accent6"/>
                </a:solidFill>
                <a:latin typeface="+mn-lt"/>
                <a:cs typeface="Arial Narrow" pitchFamily="34" charset="0"/>
              </a:rPr>
              <a:t>I. </a:t>
            </a:r>
            <a:br>
              <a:rPr lang="en-US" sz="1900">
                <a:solidFill>
                  <a:schemeClr val="accent6"/>
                </a:solidFill>
                <a:latin typeface="+mn-lt"/>
                <a:cs typeface="Arial Narrow" pitchFamily="34" charset="0"/>
              </a:rPr>
            </a:br>
            <a:r>
              <a:rPr lang="en-US" sz="1900" noProof="0">
                <a:solidFill>
                  <a:schemeClr val="accent6"/>
                </a:solidFill>
                <a:latin typeface="+mn-lt"/>
                <a:cs typeface="Arial Narrow" pitchFamily="34" charset="0"/>
              </a:rPr>
              <a:t>Regional level </a:t>
            </a:r>
            <a:endParaRPr lang="uk-UA" sz="1900" noProof="0">
              <a:solidFill>
                <a:schemeClr val="accent6"/>
              </a:solidFill>
              <a:latin typeface="+mn-lt"/>
              <a:cs typeface="Arial Narrow" pitchFamily="34" charset="0"/>
            </a:endParaRPr>
          </a:p>
        </p:txBody>
      </p:sp>
      <p:pic>
        <p:nvPicPr>
          <p:cNvPr id="31" name="Picture 4" descr="Результат пошуку зображень за запитом carec logo transparent">
            <a:extLst>
              <a:ext uri="{FF2B5EF4-FFF2-40B4-BE49-F238E27FC236}">
                <a16:creationId xmlns:a16="http://schemas.microsoft.com/office/drawing/2014/main" id="{753385F2-4974-4677-932D-99FCF2F4E80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0401" y="2931205"/>
            <a:ext cx="965044" cy="664809"/>
          </a:xfrm>
          <a:prstGeom prst="rect">
            <a:avLst/>
          </a:prstGeom>
          <a:noFill/>
          <a:extLst>
            <a:ext uri="{909E8E84-426E-40DD-AFC4-6F175D3DCCD1}">
              <a14:hiddenFill xmlns:a14="http://schemas.microsoft.com/office/drawing/2010/main">
                <a:solidFill>
                  <a:srgbClr val="FFFFFF"/>
                </a:solidFill>
              </a14:hiddenFill>
            </a:ext>
          </a:extLst>
        </p:spPr>
      </p:pic>
      <p:sp>
        <p:nvSpPr>
          <p:cNvPr id="9" name="Title99">
            <a:extLst>
              <a:ext uri="{FF2B5EF4-FFF2-40B4-BE49-F238E27FC236}">
                <a16:creationId xmlns:a16="http://schemas.microsoft.com/office/drawing/2014/main" id="{59065A9C-7097-419D-A081-04569707E906}"/>
              </a:ext>
            </a:extLst>
          </p:cNvPr>
          <p:cNvSpPr txBox="1"/>
          <p:nvPr/>
        </p:nvSpPr>
        <p:spPr>
          <a:xfrm>
            <a:off x="6670394" y="5195705"/>
            <a:ext cx="1863533" cy="5979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900" noProof="0">
                <a:solidFill>
                  <a:schemeClr val="bg2"/>
                </a:solidFill>
                <a:latin typeface="+mn-lt"/>
                <a:cs typeface="Arial Narrow" pitchFamily="34" charset="0"/>
              </a:rPr>
              <a:t>Part II. </a:t>
            </a:r>
            <a:br>
              <a:rPr lang="en-US" sz="1900" noProof="0">
                <a:solidFill>
                  <a:schemeClr val="bg2"/>
                </a:solidFill>
                <a:latin typeface="+mn-lt"/>
                <a:cs typeface="Arial Narrow" pitchFamily="34" charset="0"/>
              </a:rPr>
            </a:br>
            <a:r>
              <a:rPr lang="en-US" sz="1900" noProof="0">
                <a:solidFill>
                  <a:schemeClr val="bg2"/>
                </a:solidFill>
                <a:latin typeface="+mn-lt"/>
                <a:cs typeface="Arial Narrow" pitchFamily="34" charset="0"/>
              </a:rPr>
              <a:t>Country level </a:t>
            </a:r>
            <a:r>
              <a:rPr lang="en-US" sz="1500" noProof="0">
                <a:solidFill>
                  <a:schemeClr val="bg2"/>
                </a:solidFill>
                <a:latin typeface="+mn-lt"/>
                <a:cs typeface="Arial Narrow" pitchFamily="34" charset="0"/>
              </a:rPr>
              <a:t>(</a:t>
            </a:r>
            <a:r>
              <a:rPr lang="en-US" sz="1500" noProof="0" err="1">
                <a:solidFill>
                  <a:schemeClr val="bg2"/>
                </a:solidFill>
                <a:latin typeface="+mn-lt"/>
                <a:cs typeface="Arial Narrow" pitchFamily="34" charset="0"/>
              </a:rPr>
              <a:t>x10</a:t>
            </a:r>
            <a:r>
              <a:rPr lang="en-US" sz="1500" noProof="0">
                <a:solidFill>
                  <a:schemeClr val="bg2"/>
                </a:solidFill>
                <a:latin typeface="+mn-lt"/>
                <a:cs typeface="Arial Narrow" pitchFamily="34" charset="0"/>
              </a:rPr>
              <a:t>)</a:t>
            </a:r>
            <a:endParaRPr lang="uk-UA" sz="1500" noProof="0">
              <a:solidFill>
                <a:schemeClr val="bg2"/>
              </a:solidFill>
              <a:latin typeface="+mn-lt"/>
              <a:cs typeface="Arial Narrow" pitchFamily="34" charset="0"/>
            </a:endParaRPr>
          </a:p>
        </p:txBody>
      </p:sp>
      <p:cxnSp>
        <p:nvCxnSpPr>
          <p:cNvPr id="7" name="HorizontalLine7">
            <a:extLst>
              <a:ext uri="{FF2B5EF4-FFF2-40B4-BE49-F238E27FC236}">
                <a16:creationId xmlns:a16="http://schemas.microsoft.com/office/drawing/2014/main" id="{0541FDF2-7BF7-4F99-BE8A-9A914C876B9F}"/>
              </a:ext>
            </a:extLst>
          </p:cNvPr>
          <p:cNvCxnSpPr>
            <a:cxnSpLocks/>
          </p:cNvCxnSpPr>
          <p:nvPr/>
        </p:nvCxnSpPr>
        <p:spPr>
          <a:xfrm>
            <a:off x="5181266" y="3780049"/>
            <a:ext cx="3181398"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10" name="HorizontalLine10">
            <a:extLst>
              <a:ext uri="{FF2B5EF4-FFF2-40B4-BE49-F238E27FC236}">
                <a16:creationId xmlns:a16="http://schemas.microsoft.com/office/drawing/2014/main" id="{0CFC2505-E54E-4A77-B33B-418A5B79FE9B}"/>
              </a:ext>
            </a:extLst>
          </p:cNvPr>
          <p:cNvCxnSpPr/>
          <p:nvPr/>
        </p:nvCxnSpPr>
        <p:spPr>
          <a:xfrm>
            <a:off x="5244460" y="5804009"/>
            <a:ext cx="3181398" cy="0"/>
          </a:xfrm>
          <a:prstGeom prst="line">
            <a:avLst/>
          </a:prstGeom>
          <a:ln w="22225">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51" name="Source">
            <a:extLst>
              <a:ext uri="{FF2B5EF4-FFF2-40B4-BE49-F238E27FC236}">
                <a16:creationId xmlns:a16="http://schemas.microsoft.com/office/drawing/2014/main" id="{D0ED53B5-7532-478D-B84B-A38CE15769D8}"/>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a:t>
            </a:r>
            <a:r>
              <a:rPr lang="en-US" sz="900" b="0">
                <a:latin typeface="+mn-lt"/>
                <a:sym typeface="+mn-lt"/>
              </a:rPr>
              <a:t>Roland Berger</a:t>
            </a:r>
            <a:endParaRPr lang="en-US" sz="900" b="0">
              <a:solidFill>
                <a:schemeClr val="tx1"/>
              </a:solidFill>
              <a:latin typeface="+mn-lt"/>
              <a:cs typeface="+mn-cs"/>
              <a:sym typeface="+mn-lt"/>
            </a:endParaRPr>
          </a:p>
        </p:txBody>
      </p:sp>
      <p:sp>
        <p:nvSpPr>
          <p:cNvPr id="28" name="Speech Bubble: Rectangle 27">
            <a:extLst>
              <a:ext uri="{FF2B5EF4-FFF2-40B4-BE49-F238E27FC236}">
                <a16:creationId xmlns:a16="http://schemas.microsoft.com/office/drawing/2014/main" id="{65EAC137-A99B-48D8-8688-E92A72F93178}"/>
              </a:ext>
            </a:extLst>
          </p:cNvPr>
          <p:cNvSpPr/>
          <p:nvPr/>
        </p:nvSpPr>
        <p:spPr>
          <a:xfrm>
            <a:off x="7854215" y="4505214"/>
            <a:ext cx="1401631" cy="719999"/>
          </a:xfrm>
          <a:prstGeom prst="wedgeRectCallout">
            <a:avLst>
              <a:gd name="adj1" fmla="val -62314"/>
              <a:gd name="adj2" fmla="val 48968"/>
            </a:avLst>
          </a:prstGeom>
          <a:ln w="12700" cmpd="sng">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500" b="0">
                <a:solidFill>
                  <a:schemeClr val="bg2"/>
                </a:solidFill>
              </a:rPr>
              <a:t>Deep-dive for each CAREC member country </a:t>
            </a:r>
            <a:endParaRPr lang="uk-UA" sz="1500" b="0">
              <a:solidFill>
                <a:schemeClr val="bg2"/>
              </a:solidFill>
            </a:endParaRPr>
          </a:p>
        </p:txBody>
      </p:sp>
      <p:sp>
        <p:nvSpPr>
          <p:cNvPr id="29" name="Speech Bubble: Rectangle 28">
            <a:extLst>
              <a:ext uri="{FF2B5EF4-FFF2-40B4-BE49-F238E27FC236}">
                <a16:creationId xmlns:a16="http://schemas.microsoft.com/office/drawing/2014/main" id="{A274DA09-2754-45FC-998E-444E316597EB}"/>
              </a:ext>
            </a:extLst>
          </p:cNvPr>
          <p:cNvSpPr/>
          <p:nvPr/>
        </p:nvSpPr>
        <p:spPr>
          <a:xfrm>
            <a:off x="7854215" y="2574504"/>
            <a:ext cx="1419772" cy="720000"/>
          </a:xfrm>
          <a:prstGeom prst="wedgeRectCallout">
            <a:avLst>
              <a:gd name="adj1" fmla="val -64049"/>
              <a:gd name="adj2" fmla="val 53418"/>
            </a:avLst>
          </a:prstGeom>
          <a:ln w="12700"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500" b="0">
                <a:solidFill>
                  <a:schemeClr val="accent6"/>
                </a:solidFill>
              </a:rPr>
              <a:t>Aggregated view on the entire </a:t>
            </a:r>
            <a:r>
              <a:rPr lang="en-US" sz="1500" b="0" err="1">
                <a:solidFill>
                  <a:schemeClr val="accent6"/>
                </a:solidFill>
              </a:rPr>
              <a:t>CAREC</a:t>
            </a:r>
            <a:r>
              <a:rPr lang="en-US" sz="1500" b="0">
                <a:solidFill>
                  <a:schemeClr val="accent6"/>
                </a:solidFill>
              </a:rPr>
              <a:t> region</a:t>
            </a:r>
            <a:endParaRPr lang="uk-UA" sz="1500" b="0">
              <a:solidFill>
                <a:schemeClr val="accent6"/>
              </a:solidFill>
            </a:endParaRPr>
          </a:p>
        </p:txBody>
      </p:sp>
      <p:grpSp>
        <p:nvGrpSpPr>
          <p:cNvPr id="12" name="Group 11">
            <a:extLst>
              <a:ext uri="{FF2B5EF4-FFF2-40B4-BE49-F238E27FC236}">
                <a16:creationId xmlns:a16="http://schemas.microsoft.com/office/drawing/2014/main" id="{B7FD5722-1889-4295-B708-66D15BB39DFE}"/>
              </a:ext>
            </a:extLst>
          </p:cNvPr>
          <p:cNvGrpSpPr/>
          <p:nvPr/>
        </p:nvGrpSpPr>
        <p:grpSpPr>
          <a:xfrm>
            <a:off x="5180401" y="5308777"/>
            <a:ext cx="631042" cy="252000"/>
            <a:chOff x="5180401" y="5174045"/>
            <a:chExt cx="631042" cy="252000"/>
          </a:xfrm>
        </p:grpSpPr>
        <p:pic>
          <p:nvPicPr>
            <p:cNvPr id="78" name="Picture 77">
              <a:extLst>
                <a:ext uri="{FF2B5EF4-FFF2-40B4-BE49-F238E27FC236}">
                  <a16:creationId xmlns:a16="http://schemas.microsoft.com/office/drawing/2014/main" id="{8504E94D-90E6-49C6-8D5F-89B041F8D9B4}"/>
                </a:ext>
              </a:extLst>
            </p:cNvPr>
            <p:cNvPicPr>
              <a:picLocks/>
            </p:cNvPicPr>
            <p:nvPr/>
          </p:nvPicPr>
          <p:blipFill rotWithShape="1">
            <a:blip r:embed="rId8"/>
            <a:srcRect t="-54" r="49472" b="-54"/>
            <a:stretch/>
          </p:blipFill>
          <p:spPr>
            <a:xfrm>
              <a:off x="5180401" y="5174045"/>
              <a:ext cx="252000" cy="252000"/>
            </a:xfrm>
            <a:prstGeom prst="ellipse">
              <a:avLst/>
            </a:prstGeom>
          </p:spPr>
        </p:pic>
        <p:pic>
          <p:nvPicPr>
            <p:cNvPr id="84" name="Picture 83">
              <a:extLst>
                <a:ext uri="{FF2B5EF4-FFF2-40B4-BE49-F238E27FC236}">
                  <a16:creationId xmlns:a16="http://schemas.microsoft.com/office/drawing/2014/main" id="{7E20EAF6-C0F2-476B-8FDB-084F7F4AE56C}"/>
                </a:ext>
              </a:extLst>
            </p:cNvPr>
            <p:cNvPicPr>
              <a:picLocks/>
            </p:cNvPicPr>
            <p:nvPr/>
          </p:nvPicPr>
          <p:blipFill rotWithShape="1">
            <a:blip r:embed="rId9"/>
            <a:srcRect l="1" t="-54" r="51547" b="-54"/>
            <a:stretch/>
          </p:blipFill>
          <p:spPr>
            <a:xfrm>
              <a:off x="5559443" y="5174045"/>
              <a:ext cx="252000" cy="252000"/>
            </a:xfrm>
            <a:prstGeom prst="ellipse">
              <a:avLst/>
            </a:prstGeom>
          </p:spPr>
        </p:pic>
      </p:grpSp>
      <p:pic>
        <p:nvPicPr>
          <p:cNvPr id="76" name="Picture 75">
            <a:extLst>
              <a:ext uri="{FF2B5EF4-FFF2-40B4-BE49-F238E27FC236}">
                <a16:creationId xmlns:a16="http://schemas.microsoft.com/office/drawing/2014/main" id="{5C991080-DE42-4D27-9B8D-1F5EAEAEFACD}"/>
              </a:ext>
            </a:extLst>
          </p:cNvPr>
          <p:cNvPicPr>
            <a:picLocks/>
          </p:cNvPicPr>
          <p:nvPr/>
        </p:nvPicPr>
        <p:blipFill rotWithShape="1">
          <a:blip r:embed="rId10"/>
          <a:srcRect l="25105" t="-54" r="23392" b="-54"/>
          <a:stretch/>
        </p:blipFill>
        <p:spPr>
          <a:xfrm>
            <a:off x="5180401" y="4505214"/>
            <a:ext cx="252000" cy="252000"/>
          </a:xfrm>
          <a:prstGeom prst="ellipse">
            <a:avLst/>
          </a:prstGeom>
        </p:spPr>
      </p:pic>
      <p:pic>
        <p:nvPicPr>
          <p:cNvPr id="82" name="Picture 81">
            <a:extLst>
              <a:ext uri="{FF2B5EF4-FFF2-40B4-BE49-F238E27FC236}">
                <a16:creationId xmlns:a16="http://schemas.microsoft.com/office/drawing/2014/main" id="{BA4CA9EB-D795-4E46-A060-37E6E073C201}"/>
              </a:ext>
            </a:extLst>
          </p:cNvPr>
          <p:cNvPicPr>
            <a:picLocks/>
          </p:cNvPicPr>
          <p:nvPr/>
        </p:nvPicPr>
        <p:blipFill rotWithShape="1">
          <a:blip r:embed="rId11"/>
          <a:srcRect t="-54" r="50697" b="-54"/>
          <a:stretch/>
        </p:blipFill>
        <p:spPr>
          <a:xfrm>
            <a:off x="5559443" y="4505214"/>
            <a:ext cx="252000" cy="252000"/>
          </a:xfrm>
          <a:prstGeom prst="ellipse">
            <a:avLst/>
          </a:prstGeom>
        </p:spPr>
      </p:pic>
      <p:pic>
        <p:nvPicPr>
          <p:cNvPr id="77" name="Picture 76">
            <a:extLst>
              <a:ext uri="{FF2B5EF4-FFF2-40B4-BE49-F238E27FC236}">
                <a16:creationId xmlns:a16="http://schemas.microsoft.com/office/drawing/2014/main" id="{F70405D9-5563-4D32-8D53-14C53D9FCEDA}"/>
              </a:ext>
            </a:extLst>
          </p:cNvPr>
          <p:cNvPicPr>
            <a:picLocks/>
          </p:cNvPicPr>
          <p:nvPr/>
        </p:nvPicPr>
        <p:blipFill rotWithShape="1">
          <a:blip r:embed="rId12"/>
          <a:srcRect l="24898" t="-54" r="27311" b="-54"/>
          <a:stretch/>
        </p:blipFill>
        <p:spPr>
          <a:xfrm>
            <a:off x="5938485" y="4500944"/>
            <a:ext cx="252000" cy="252000"/>
          </a:xfrm>
          <a:prstGeom prst="ellipse">
            <a:avLst/>
          </a:prstGeom>
        </p:spPr>
      </p:pic>
      <p:pic>
        <p:nvPicPr>
          <p:cNvPr id="83" name="Picture 82">
            <a:extLst>
              <a:ext uri="{FF2B5EF4-FFF2-40B4-BE49-F238E27FC236}">
                <a16:creationId xmlns:a16="http://schemas.microsoft.com/office/drawing/2014/main" id="{BCBD3B9C-2696-4CC8-A7F3-AB3F7C1074BB}"/>
              </a:ext>
            </a:extLst>
          </p:cNvPr>
          <p:cNvPicPr>
            <a:picLocks/>
          </p:cNvPicPr>
          <p:nvPr/>
        </p:nvPicPr>
        <p:blipFill rotWithShape="1">
          <a:blip r:embed="rId13"/>
          <a:srcRect l="8025" t="-54" r="41453" b="-54"/>
          <a:stretch/>
        </p:blipFill>
        <p:spPr>
          <a:xfrm>
            <a:off x="6315763" y="4500944"/>
            <a:ext cx="252000" cy="252000"/>
          </a:xfrm>
          <a:prstGeom prst="ellipse">
            <a:avLst/>
          </a:prstGeom>
        </p:spPr>
      </p:pic>
      <p:grpSp>
        <p:nvGrpSpPr>
          <p:cNvPr id="8" name="Group 7">
            <a:extLst>
              <a:ext uri="{FF2B5EF4-FFF2-40B4-BE49-F238E27FC236}">
                <a16:creationId xmlns:a16="http://schemas.microsoft.com/office/drawing/2014/main" id="{F55D5E8D-3372-4ABD-9630-FE56A52525FE}"/>
              </a:ext>
            </a:extLst>
          </p:cNvPr>
          <p:cNvGrpSpPr/>
          <p:nvPr/>
        </p:nvGrpSpPr>
        <p:grpSpPr>
          <a:xfrm>
            <a:off x="5180401" y="4898301"/>
            <a:ext cx="1387362" cy="269389"/>
            <a:chOff x="5180401" y="4830935"/>
            <a:chExt cx="1387362" cy="269389"/>
          </a:xfrm>
        </p:grpSpPr>
        <p:pic>
          <p:nvPicPr>
            <p:cNvPr id="79" name="Picture 78">
              <a:extLst>
                <a:ext uri="{FF2B5EF4-FFF2-40B4-BE49-F238E27FC236}">
                  <a16:creationId xmlns:a16="http://schemas.microsoft.com/office/drawing/2014/main" id="{A5351CC1-1E8D-49F3-8CBC-5B0D5BE4FEB3}"/>
                </a:ext>
              </a:extLst>
            </p:cNvPr>
            <p:cNvPicPr>
              <a:picLocks/>
            </p:cNvPicPr>
            <p:nvPr/>
          </p:nvPicPr>
          <p:blipFill rotWithShape="1">
            <a:blip r:embed="rId14"/>
            <a:srcRect l="26616" t="3996" r="29904" b="7451"/>
            <a:stretch/>
          </p:blipFill>
          <p:spPr>
            <a:xfrm>
              <a:off x="6315763" y="4848324"/>
              <a:ext cx="252000" cy="252000"/>
            </a:xfrm>
            <a:prstGeom prst="ellipse">
              <a:avLst/>
            </a:prstGeom>
          </p:spPr>
        </p:pic>
        <p:pic>
          <p:nvPicPr>
            <p:cNvPr id="80" name="Picture 79">
              <a:extLst>
                <a:ext uri="{FF2B5EF4-FFF2-40B4-BE49-F238E27FC236}">
                  <a16:creationId xmlns:a16="http://schemas.microsoft.com/office/drawing/2014/main" id="{75120328-9EF6-4BC6-A1F6-56F6EB326578}"/>
                </a:ext>
              </a:extLst>
            </p:cNvPr>
            <p:cNvPicPr>
              <a:picLocks/>
            </p:cNvPicPr>
            <p:nvPr/>
          </p:nvPicPr>
          <p:blipFill rotWithShape="1">
            <a:blip r:embed="rId15"/>
            <a:srcRect l="40451" t="2762" r="10737" b="-54"/>
            <a:stretch/>
          </p:blipFill>
          <p:spPr>
            <a:xfrm>
              <a:off x="5938485" y="4848324"/>
              <a:ext cx="252000" cy="252000"/>
            </a:xfrm>
            <a:prstGeom prst="flowChartConnector">
              <a:avLst/>
            </a:prstGeom>
          </p:spPr>
        </p:pic>
        <p:pic>
          <p:nvPicPr>
            <p:cNvPr id="85" name="Picture 84">
              <a:extLst>
                <a:ext uri="{FF2B5EF4-FFF2-40B4-BE49-F238E27FC236}">
                  <a16:creationId xmlns:a16="http://schemas.microsoft.com/office/drawing/2014/main" id="{BA51D006-2BCE-46EB-866C-12BFD6D371CD}"/>
                </a:ext>
              </a:extLst>
            </p:cNvPr>
            <p:cNvPicPr>
              <a:picLocks/>
            </p:cNvPicPr>
            <p:nvPr/>
          </p:nvPicPr>
          <p:blipFill rotWithShape="1">
            <a:blip r:embed="rId16"/>
            <a:srcRect l="1220" t="1830" r="50886" b="3053"/>
            <a:stretch/>
          </p:blipFill>
          <p:spPr>
            <a:xfrm>
              <a:off x="5559443" y="4848324"/>
              <a:ext cx="252000" cy="252000"/>
            </a:xfrm>
            <a:prstGeom prst="flowChartConnector">
              <a:avLst/>
            </a:prstGeom>
          </p:spPr>
        </p:pic>
        <p:pic>
          <p:nvPicPr>
            <p:cNvPr id="86" name="Picture 85">
              <a:extLst>
                <a:ext uri="{FF2B5EF4-FFF2-40B4-BE49-F238E27FC236}">
                  <a16:creationId xmlns:a16="http://schemas.microsoft.com/office/drawing/2014/main" id="{BF960D93-92F1-4F86-8A09-8B567F6DAE3A}"/>
                </a:ext>
              </a:extLst>
            </p:cNvPr>
            <p:cNvPicPr>
              <a:picLocks/>
            </p:cNvPicPr>
            <p:nvPr/>
          </p:nvPicPr>
          <p:blipFill rotWithShape="1">
            <a:blip r:embed="rId17"/>
            <a:srcRect l="24604" t="1725" r="26883" b="347"/>
            <a:stretch/>
          </p:blipFill>
          <p:spPr>
            <a:xfrm>
              <a:off x="5180401" y="4830935"/>
              <a:ext cx="252000" cy="252000"/>
            </a:xfrm>
            <a:prstGeom prst="ellipse">
              <a:avLst/>
            </a:prstGeom>
          </p:spPr>
        </p:pic>
      </p:grpSp>
      <p:grpSp>
        <p:nvGrpSpPr>
          <p:cNvPr id="96" name="Group 95">
            <a:extLst>
              <a:ext uri="{FF2B5EF4-FFF2-40B4-BE49-F238E27FC236}">
                <a16:creationId xmlns:a16="http://schemas.microsoft.com/office/drawing/2014/main" id="{B3D74519-5057-4BB2-8302-162869DAABE6}"/>
              </a:ext>
            </a:extLst>
          </p:cNvPr>
          <p:cNvGrpSpPr/>
          <p:nvPr/>
        </p:nvGrpSpPr>
        <p:grpSpPr>
          <a:xfrm>
            <a:off x="962701" y="3079139"/>
            <a:ext cx="3224289" cy="364004"/>
            <a:chOff x="962701" y="3075371"/>
            <a:chExt cx="3224289" cy="364004"/>
          </a:xfrm>
        </p:grpSpPr>
        <p:sp>
          <p:nvSpPr>
            <p:cNvPr id="53" name="Freeform 115">
              <a:extLst>
                <a:ext uri="{FF2B5EF4-FFF2-40B4-BE49-F238E27FC236}">
                  <a16:creationId xmlns:a16="http://schemas.microsoft.com/office/drawing/2014/main" id="{3E2886AC-6C42-45CD-8D83-B6008479BC61}"/>
                </a:ext>
              </a:extLst>
            </p:cNvPr>
            <p:cNvSpPr>
              <a:spLocks/>
            </p:cNvSpPr>
            <p:nvPr/>
          </p:nvSpPr>
          <p:spPr bwMode="auto">
            <a:xfrm>
              <a:off x="962701" y="3075371"/>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a:solidFill>
                  <a:schemeClr val="accent6"/>
                </a:solidFill>
              </a:endParaRPr>
            </a:p>
          </p:txBody>
        </p:sp>
        <p:sp>
          <p:nvSpPr>
            <p:cNvPr id="50" name="Title44">
              <a:extLst>
                <a:ext uri="{FF2B5EF4-FFF2-40B4-BE49-F238E27FC236}">
                  <a16:creationId xmlns:a16="http://schemas.microsoft.com/office/drawing/2014/main" id="{B232C6A0-FBFC-4A77-93C6-39EA37360228}"/>
                </a:ext>
              </a:extLst>
            </p:cNvPr>
            <p:cNvSpPr txBox="1">
              <a:spLocks/>
            </p:cNvSpPr>
            <p:nvPr/>
          </p:nvSpPr>
          <p:spPr>
            <a:xfrm>
              <a:off x="1684422" y="3125799"/>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en-US" sz="1900" b="0" spc="-20">
                  <a:latin typeface="+mj-lt"/>
                  <a:cs typeface="Arial Narrow" pitchFamily="34" charset="0"/>
                </a:rPr>
                <a:t>Supply and demand Outlook</a:t>
              </a:r>
            </a:p>
          </p:txBody>
        </p:sp>
      </p:grpSp>
      <p:grpSp>
        <p:nvGrpSpPr>
          <p:cNvPr id="98" name="Group 97">
            <a:extLst>
              <a:ext uri="{FF2B5EF4-FFF2-40B4-BE49-F238E27FC236}">
                <a16:creationId xmlns:a16="http://schemas.microsoft.com/office/drawing/2014/main" id="{62969523-3073-4861-8B7D-4A089E4FA8E1}"/>
              </a:ext>
            </a:extLst>
          </p:cNvPr>
          <p:cNvGrpSpPr/>
          <p:nvPr/>
        </p:nvGrpSpPr>
        <p:grpSpPr>
          <a:xfrm>
            <a:off x="962701" y="3895112"/>
            <a:ext cx="3224289" cy="364004"/>
            <a:chOff x="962701" y="3842373"/>
            <a:chExt cx="3224289" cy="364004"/>
          </a:xfrm>
        </p:grpSpPr>
        <p:sp>
          <p:nvSpPr>
            <p:cNvPr id="67" name="Freeform 115">
              <a:extLst>
                <a:ext uri="{FF2B5EF4-FFF2-40B4-BE49-F238E27FC236}">
                  <a16:creationId xmlns:a16="http://schemas.microsoft.com/office/drawing/2014/main" id="{933DE239-7856-4628-BEC9-0E53462FEF07}"/>
                </a:ext>
              </a:extLst>
            </p:cNvPr>
            <p:cNvSpPr>
              <a:spLocks/>
            </p:cNvSpPr>
            <p:nvPr/>
          </p:nvSpPr>
          <p:spPr bwMode="auto">
            <a:xfrm>
              <a:off x="962701" y="3842373"/>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a:solidFill>
                  <a:schemeClr val="accent6"/>
                </a:solidFill>
              </a:endParaRPr>
            </a:p>
          </p:txBody>
        </p:sp>
        <p:sp>
          <p:nvSpPr>
            <p:cNvPr id="65" name="Title44">
              <a:extLst>
                <a:ext uri="{FF2B5EF4-FFF2-40B4-BE49-F238E27FC236}">
                  <a16:creationId xmlns:a16="http://schemas.microsoft.com/office/drawing/2014/main" id="{804ACE76-BE0F-4BEC-9202-EC9762C373B5}"/>
                </a:ext>
              </a:extLst>
            </p:cNvPr>
            <p:cNvSpPr txBox="1">
              <a:spLocks/>
            </p:cNvSpPr>
            <p:nvPr/>
          </p:nvSpPr>
          <p:spPr>
            <a:xfrm>
              <a:off x="1684422" y="3892801"/>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en-US" sz="1900" b="0" spc="-20">
                  <a:latin typeface="+mj-lt"/>
                  <a:cs typeface="Arial Narrow" pitchFamily="34" charset="0"/>
                </a:rPr>
                <a:t>Technology Outlook</a:t>
              </a:r>
            </a:p>
          </p:txBody>
        </p:sp>
      </p:grpSp>
      <p:grpSp>
        <p:nvGrpSpPr>
          <p:cNvPr id="99" name="Group 98">
            <a:extLst>
              <a:ext uri="{FF2B5EF4-FFF2-40B4-BE49-F238E27FC236}">
                <a16:creationId xmlns:a16="http://schemas.microsoft.com/office/drawing/2014/main" id="{4386D8AA-B682-4235-9CE2-A208CC01BD69}"/>
              </a:ext>
            </a:extLst>
          </p:cNvPr>
          <p:cNvGrpSpPr/>
          <p:nvPr/>
        </p:nvGrpSpPr>
        <p:grpSpPr>
          <a:xfrm>
            <a:off x="962701" y="4711085"/>
            <a:ext cx="3224289" cy="364004"/>
            <a:chOff x="962701" y="4609374"/>
            <a:chExt cx="3224289" cy="364004"/>
          </a:xfrm>
        </p:grpSpPr>
        <p:sp>
          <p:nvSpPr>
            <p:cNvPr id="73" name="Freeform 115">
              <a:extLst>
                <a:ext uri="{FF2B5EF4-FFF2-40B4-BE49-F238E27FC236}">
                  <a16:creationId xmlns:a16="http://schemas.microsoft.com/office/drawing/2014/main" id="{0A127A68-20A8-44FD-BC93-AFA6F8E6B12C}"/>
                </a:ext>
              </a:extLst>
            </p:cNvPr>
            <p:cNvSpPr>
              <a:spLocks/>
            </p:cNvSpPr>
            <p:nvPr/>
          </p:nvSpPr>
          <p:spPr bwMode="auto">
            <a:xfrm>
              <a:off x="962701" y="4609374"/>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a:solidFill>
                  <a:schemeClr val="accent6"/>
                </a:solidFill>
              </a:endParaRPr>
            </a:p>
          </p:txBody>
        </p:sp>
        <p:sp>
          <p:nvSpPr>
            <p:cNvPr id="71" name="Title44">
              <a:extLst>
                <a:ext uri="{FF2B5EF4-FFF2-40B4-BE49-F238E27FC236}">
                  <a16:creationId xmlns:a16="http://schemas.microsoft.com/office/drawing/2014/main" id="{E219963F-D3C1-456D-AECF-0CCE0F2008A0}"/>
                </a:ext>
              </a:extLst>
            </p:cNvPr>
            <p:cNvSpPr txBox="1">
              <a:spLocks/>
            </p:cNvSpPr>
            <p:nvPr/>
          </p:nvSpPr>
          <p:spPr>
            <a:xfrm>
              <a:off x="1684422" y="4659802"/>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en-US" sz="1900" b="0" spc="-20">
                  <a:latin typeface="+mj-lt"/>
                  <a:cs typeface="Arial Narrow" pitchFamily="34" charset="0"/>
                </a:rPr>
                <a:t>Carbon emissions Outlook</a:t>
              </a:r>
            </a:p>
          </p:txBody>
        </p:sp>
      </p:grpSp>
      <p:grpSp>
        <p:nvGrpSpPr>
          <p:cNvPr id="100" name="Group 99">
            <a:extLst>
              <a:ext uri="{FF2B5EF4-FFF2-40B4-BE49-F238E27FC236}">
                <a16:creationId xmlns:a16="http://schemas.microsoft.com/office/drawing/2014/main" id="{F9D26F41-CC99-4B41-A7CD-64504E2F281F}"/>
              </a:ext>
            </a:extLst>
          </p:cNvPr>
          <p:cNvGrpSpPr/>
          <p:nvPr/>
        </p:nvGrpSpPr>
        <p:grpSpPr>
          <a:xfrm>
            <a:off x="962701" y="5527058"/>
            <a:ext cx="3224289" cy="364004"/>
            <a:chOff x="962701" y="5376376"/>
            <a:chExt cx="3224289" cy="364004"/>
          </a:xfrm>
        </p:grpSpPr>
        <p:sp>
          <p:nvSpPr>
            <p:cNvPr id="87" name="Title44">
              <a:extLst>
                <a:ext uri="{FF2B5EF4-FFF2-40B4-BE49-F238E27FC236}">
                  <a16:creationId xmlns:a16="http://schemas.microsoft.com/office/drawing/2014/main" id="{96F23E16-8B26-4C33-8CFC-B49582582E91}"/>
                </a:ext>
              </a:extLst>
            </p:cNvPr>
            <p:cNvSpPr txBox="1">
              <a:spLocks/>
            </p:cNvSpPr>
            <p:nvPr/>
          </p:nvSpPr>
          <p:spPr>
            <a:xfrm>
              <a:off x="1684422" y="5426804"/>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en-US" sz="1900" b="0" spc="-20">
                  <a:latin typeface="+mj-lt"/>
                  <a:cs typeface="Arial Narrow" pitchFamily="34" charset="0"/>
                </a:rPr>
                <a:t>Investment Outlook</a:t>
              </a:r>
            </a:p>
          </p:txBody>
        </p:sp>
        <p:sp>
          <p:nvSpPr>
            <p:cNvPr id="89" name="Freeform 115">
              <a:extLst>
                <a:ext uri="{FF2B5EF4-FFF2-40B4-BE49-F238E27FC236}">
                  <a16:creationId xmlns:a16="http://schemas.microsoft.com/office/drawing/2014/main" id="{0895FB32-2BE9-41FF-AC50-BE11D7AB23F1}"/>
                </a:ext>
              </a:extLst>
            </p:cNvPr>
            <p:cNvSpPr>
              <a:spLocks/>
            </p:cNvSpPr>
            <p:nvPr/>
          </p:nvSpPr>
          <p:spPr bwMode="auto">
            <a:xfrm>
              <a:off x="962701" y="5376376"/>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a:solidFill>
                  <a:schemeClr val="accent6"/>
                </a:solidFill>
              </a:endParaRPr>
            </a:p>
          </p:txBody>
        </p:sp>
      </p:grpSp>
      <p:sp>
        <p:nvSpPr>
          <p:cNvPr id="62" name="RbLeanShape Arrow Option 1 62">
            <a:extLst>
              <a:ext uri="{FF2B5EF4-FFF2-40B4-BE49-F238E27FC236}">
                <a16:creationId xmlns:a16="http://schemas.microsoft.com/office/drawing/2014/main" id="{837A06FF-0501-44AD-A5BD-D79AAD05FBA0}"/>
              </a:ext>
            </a:extLst>
          </p:cNvPr>
          <p:cNvSpPr/>
          <p:nvPr/>
        </p:nvSpPr>
        <p:spPr>
          <a:xfrm>
            <a:off x="1030106" y="2735185"/>
            <a:ext cx="3830652" cy="3525278"/>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48572"/>
              <a:gd name="connsiteY0" fmla="*/ 0 h 476250"/>
              <a:gd name="connsiteX1" fmla="*/ 352839 w 648572"/>
              <a:gd name="connsiteY1" fmla="*/ 0 h 476250"/>
              <a:gd name="connsiteX2" fmla="*/ 648572 w 648572"/>
              <a:gd name="connsiteY2" fmla="*/ 238125 h 476250"/>
              <a:gd name="connsiteX3" fmla="*/ 352839 w 648572"/>
              <a:gd name="connsiteY3" fmla="*/ 476250 h 476250"/>
              <a:gd name="connsiteX4" fmla="*/ 0 w 648572"/>
              <a:gd name="connsiteY4" fmla="*/ 476250 h 476250"/>
              <a:gd name="connsiteX0" fmla="*/ 0 w 662434"/>
              <a:gd name="connsiteY0" fmla="*/ 0 h 476250"/>
              <a:gd name="connsiteX1" fmla="*/ 352839 w 662434"/>
              <a:gd name="connsiteY1" fmla="*/ 0 h 476250"/>
              <a:gd name="connsiteX2" fmla="*/ 662434 w 662434"/>
              <a:gd name="connsiteY2" fmla="*/ 238125 h 476250"/>
              <a:gd name="connsiteX3" fmla="*/ 352839 w 662434"/>
              <a:gd name="connsiteY3" fmla="*/ 476250 h 476250"/>
              <a:gd name="connsiteX4" fmla="*/ 0 w 662434"/>
              <a:gd name="connsiteY4" fmla="*/ 476250 h 476250"/>
              <a:gd name="connsiteX0" fmla="*/ 0 w 676592"/>
              <a:gd name="connsiteY0" fmla="*/ 0 h 476250"/>
              <a:gd name="connsiteX1" fmla="*/ 352839 w 676592"/>
              <a:gd name="connsiteY1" fmla="*/ 0 h 476250"/>
              <a:gd name="connsiteX2" fmla="*/ 676592 w 676592"/>
              <a:gd name="connsiteY2" fmla="*/ 238125 h 476250"/>
              <a:gd name="connsiteX3" fmla="*/ 352839 w 676592"/>
              <a:gd name="connsiteY3" fmla="*/ 476250 h 476250"/>
              <a:gd name="connsiteX4" fmla="*/ 0 w 676592"/>
              <a:gd name="connsiteY4" fmla="*/ 476250 h 476250"/>
              <a:gd name="connsiteX0" fmla="*/ 0 w 662131"/>
              <a:gd name="connsiteY0" fmla="*/ 0 h 476250"/>
              <a:gd name="connsiteX1" fmla="*/ 352839 w 662131"/>
              <a:gd name="connsiteY1" fmla="*/ 0 h 476250"/>
              <a:gd name="connsiteX2" fmla="*/ 662131 w 662131"/>
              <a:gd name="connsiteY2" fmla="*/ 238125 h 476250"/>
              <a:gd name="connsiteX3" fmla="*/ 352839 w 662131"/>
              <a:gd name="connsiteY3" fmla="*/ 476250 h 476250"/>
              <a:gd name="connsiteX4" fmla="*/ 0 w 662131"/>
              <a:gd name="connsiteY4" fmla="*/ 476250 h 476250"/>
              <a:gd name="connsiteX0" fmla="*/ 0 w 647979"/>
              <a:gd name="connsiteY0" fmla="*/ 0 h 476250"/>
              <a:gd name="connsiteX1" fmla="*/ 352839 w 647979"/>
              <a:gd name="connsiteY1" fmla="*/ 0 h 476250"/>
              <a:gd name="connsiteX2" fmla="*/ 647979 w 647979"/>
              <a:gd name="connsiteY2" fmla="*/ 238125 h 476250"/>
              <a:gd name="connsiteX3" fmla="*/ 352839 w 647979"/>
              <a:gd name="connsiteY3" fmla="*/ 476250 h 476250"/>
              <a:gd name="connsiteX4" fmla="*/ 0 w 647979"/>
              <a:gd name="connsiteY4" fmla="*/ 476250 h 476250"/>
              <a:gd name="connsiteX0" fmla="*/ 0 w 634130"/>
              <a:gd name="connsiteY0" fmla="*/ 0 h 476250"/>
              <a:gd name="connsiteX1" fmla="*/ 352839 w 634130"/>
              <a:gd name="connsiteY1" fmla="*/ 0 h 476250"/>
              <a:gd name="connsiteX2" fmla="*/ 634130 w 634130"/>
              <a:gd name="connsiteY2" fmla="*/ 238125 h 476250"/>
              <a:gd name="connsiteX3" fmla="*/ 352839 w 634130"/>
              <a:gd name="connsiteY3" fmla="*/ 476250 h 476250"/>
              <a:gd name="connsiteX4" fmla="*/ 0 w 634130"/>
              <a:gd name="connsiteY4" fmla="*/ 476250 h 476250"/>
              <a:gd name="connsiteX0" fmla="*/ 0 w 620577"/>
              <a:gd name="connsiteY0" fmla="*/ 0 h 476250"/>
              <a:gd name="connsiteX1" fmla="*/ 352839 w 620577"/>
              <a:gd name="connsiteY1" fmla="*/ 0 h 476250"/>
              <a:gd name="connsiteX2" fmla="*/ 620577 w 620577"/>
              <a:gd name="connsiteY2" fmla="*/ 238125 h 476250"/>
              <a:gd name="connsiteX3" fmla="*/ 352839 w 620577"/>
              <a:gd name="connsiteY3" fmla="*/ 476250 h 476250"/>
              <a:gd name="connsiteX4" fmla="*/ 0 w 620577"/>
              <a:gd name="connsiteY4" fmla="*/ 476250 h 476250"/>
              <a:gd name="connsiteX0" fmla="*/ 0 w 607313"/>
              <a:gd name="connsiteY0" fmla="*/ 0 h 476250"/>
              <a:gd name="connsiteX1" fmla="*/ 352839 w 607313"/>
              <a:gd name="connsiteY1" fmla="*/ 0 h 476250"/>
              <a:gd name="connsiteX2" fmla="*/ 607313 w 607313"/>
              <a:gd name="connsiteY2" fmla="*/ 238125 h 476250"/>
              <a:gd name="connsiteX3" fmla="*/ 352839 w 607313"/>
              <a:gd name="connsiteY3" fmla="*/ 476250 h 476250"/>
              <a:gd name="connsiteX4" fmla="*/ 0 w 607313"/>
              <a:gd name="connsiteY4" fmla="*/ 476250 h 476250"/>
              <a:gd name="connsiteX0" fmla="*/ 0 w 594333"/>
              <a:gd name="connsiteY0" fmla="*/ 0 h 476250"/>
              <a:gd name="connsiteX1" fmla="*/ 352839 w 594333"/>
              <a:gd name="connsiteY1" fmla="*/ 0 h 476250"/>
              <a:gd name="connsiteX2" fmla="*/ 594333 w 594333"/>
              <a:gd name="connsiteY2" fmla="*/ 238125 h 476250"/>
              <a:gd name="connsiteX3" fmla="*/ 352839 w 594333"/>
              <a:gd name="connsiteY3" fmla="*/ 476250 h 476250"/>
              <a:gd name="connsiteX4" fmla="*/ 0 w 594333"/>
              <a:gd name="connsiteY4" fmla="*/ 476250 h 476250"/>
              <a:gd name="connsiteX0" fmla="*/ 0 w 581630"/>
              <a:gd name="connsiteY0" fmla="*/ 0 h 476250"/>
              <a:gd name="connsiteX1" fmla="*/ 352839 w 581630"/>
              <a:gd name="connsiteY1" fmla="*/ 0 h 476250"/>
              <a:gd name="connsiteX2" fmla="*/ 581630 w 581630"/>
              <a:gd name="connsiteY2" fmla="*/ 238125 h 476250"/>
              <a:gd name="connsiteX3" fmla="*/ 352839 w 581630"/>
              <a:gd name="connsiteY3" fmla="*/ 476250 h 476250"/>
              <a:gd name="connsiteX4" fmla="*/ 0 w 581630"/>
              <a:gd name="connsiteY4" fmla="*/ 476250 h 476250"/>
              <a:gd name="connsiteX0" fmla="*/ 0 w 569199"/>
              <a:gd name="connsiteY0" fmla="*/ 0 h 476250"/>
              <a:gd name="connsiteX1" fmla="*/ 352839 w 569199"/>
              <a:gd name="connsiteY1" fmla="*/ 0 h 476250"/>
              <a:gd name="connsiteX2" fmla="*/ 569199 w 569199"/>
              <a:gd name="connsiteY2" fmla="*/ 238125 h 476250"/>
              <a:gd name="connsiteX3" fmla="*/ 352839 w 569199"/>
              <a:gd name="connsiteY3" fmla="*/ 476250 h 476250"/>
              <a:gd name="connsiteX4" fmla="*/ 0 w 569199"/>
              <a:gd name="connsiteY4" fmla="*/ 476250 h 476250"/>
              <a:gd name="connsiteX0" fmla="*/ 0 w 557034"/>
              <a:gd name="connsiteY0" fmla="*/ 0 h 476250"/>
              <a:gd name="connsiteX1" fmla="*/ 352839 w 557034"/>
              <a:gd name="connsiteY1" fmla="*/ 0 h 476250"/>
              <a:gd name="connsiteX2" fmla="*/ 557034 w 557034"/>
              <a:gd name="connsiteY2" fmla="*/ 238125 h 476250"/>
              <a:gd name="connsiteX3" fmla="*/ 352839 w 557034"/>
              <a:gd name="connsiteY3" fmla="*/ 476250 h 476250"/>
              <a:gd name="connsiteX4" fmla="*/ 0 w 557034"/>
              <a:gd name="connsiteY4" fmla="*/ 476250 h 476250"/>
              <a:gd name="connsiteX0" fmla="*/ 0 w 545129"/>
              <a:gd name="connsiteY0" fmla="*/ 0 h 476250"/>
              <a:gd name="connsiteX1" fmla="*/ 352839 w 545129"/>
              <a:gd name="connsiteY1" fmla="*/ 0 h 476250"/>
              <a:gd name="connsiteX2" fmla="*/ 545129 w 545129"/>
              <a:gd name="connsiteY2" fmla="*/ 238125 h 476250"/>
              <a:gd name="connsiteX3" fmla="*/ 352839 w 545129"/>
              <a:gd name="connsiteY3" fmla="*/ 476250 h 476250"/>
              <a:gd name="connsiteX4" fmla="*/ 0 w 545129"/>
              <a:gd name="connsiteY4" fmla="*/ 476250 h 476250"/>
              <a:gd name="connsiteX0" fmla="*/ 0 w 533478"/>
              <a:gd name="connsiteY0" fmla="*/ 0 h 476250"/>
              <a:gd name="connsiteX1" fmla="*/ 352839 w 533478"/>
              <a:gd name="connsiteY1" fmla="*/ 0 h 476250"/>
              <a:gd name="connsiteX2" fmla="*/ 533478 w 533478"/>
              <a:gd name="connsiteY2" fmla="*/ 238125 h 476250"/>
              <a:gd name="connsiteX3" fmla="*/ 352839 w 533478"/>
              <a:gd name="connsiteY3" fmla="*/ 476250 h 476250"/>
              <a:gd name="connsiteX4" fmla="*/ 0 w 533478"/>
              <a:gd name="connsiteY4" fmla="*/ 476250 h 476250"/>
              <a:gd name="connsiteX0" fmla="*/ 0 w 522076"/>
              <a:gd name="connsiteY0" fmla="*/ 0 h 476250"/>
              <a:gd name="connsiteX1" fmla="*/ 352839 w 522076"/>
              <a:gd name="connsiteY1" fmla="*/ 0 h 476250"/>
              <a:gd name="connsiteX2" fmla="*/ 522076 w 522076"/>
              <a:gd name="connsiteY2" fmla="*/ 238125 h 476250"/>
              <a:gd name="connsiteX3" fmla="*/ 352839 w 522076"/>
              <a:gd name="connsiteY3" fmla="*/ 476250 h 476250"/>
              <a:gd name="connsiteX4" fmla="*/ 0 w 522076"/>
              <a:gd name="connsiteY4" fmla="*/ 476250 h 476250"/>
              <a:gd name="connsiteX0" fmla="*/ 0 w 510918"/>
              <a:gd name="connsiteY0" fmla="*/ 0 h 476250"/>
              <a:gd name="connsiteX1" fmla="*/ 352839 w 510918"/>
              <a:gd name="connsiteY1" fmla="*/ 0 h 476250"/>
              <a:gd name="connsiteX2" fmla="*/ 510918 w 510918"/>
              <a:gd name="connsiteY2" fmla="*/ 238125 h 476250"/>
              <a:gd name="connsiteX3" fmla="*/ 352839 w 510918"/>
              <a:gd name="connsiteY3" fmla="*/ 476250 h 476250"/>
              <a:gd name="connsiteX4" fmla="*/ 0 w 510918"/>
              <a:gd name="connsiteY4" fmla="*/ 476250 h 476250"/>
              <a:gd name="connsiteX0" fmla="*/ 0 w 499998"/>
              <a:gd name="connsiteY0" fmla="*/ 0 h 476250"/>
              <a:gd name="connsiteX1" fmla="*/ 352839 w 499998"/>
              <a:gd name="connsiteY1" fmla="*/ 0 h 476250"/>
              <a:gd name="connsiteX2" fmla="*/ 499998 w 499998"/>
              <a:gd name="connsiteY2" fmla="*/ 238125 h 476250"/>
              <a:gd name="connsiteX3" fmla="*/ 352839 w 499998"/>
              <a:gd name="connsiteY3" fmla="*/ 476250 h 476250"/>
              <a:gd name="connsiteX4" fmla="*/ 0 w 499998"/>
              <a:gd name="connsiteY4" fmla="*/ 476250 h 476250"/>
              <a:gd name="connsiteX0" fmla="*/ 0 w 489312"/>
              <a:gd name="connsiteY0" fmla="*/ 0 h 476250"/>
              <a:gd name="connsiteX1" fmla="*/ 352839 w 489312"/>
              <a:gd name="connsiteY1" fmla="*/ 0 h 476250"/>
              <a:gd name="connsiteX2" fmla="*/ 489312 w 489312"/>
              <a:gd name="connsiteY2" fmla="*/ 238125 h 476250"/>
              <a:gd name="connsiteX3" fmla="*/ 352839 w 489312"/>
              <a:gd name="connsiteY3" fmla="*/ 476250 h 476250"/>
              <a:gd name="connsiteX4" fmla="*/ 0 w 489312"/>
              <a:gd name="connsiteY4" fmla="*/ 476250 h 476250"/>
              <a:gd name="connsiteX0" fmla="*/ 0 w 478854"/>
              <a:gd name="connsiteY0" fmla="*/ 0 h 476250"/>
              <a:gd name="connsiteX1" fmla="*/ 352839 w 478854"/>
              <a:gd name="connsiteY1" fmla="*/ 0 h 476250"/>
              <a:gd name="connsiteX2" fmla="*/ 478854 w 478854"/>
              <a:gd name="connsiteY2" fmla="*/ 238125 h 476250"/>
              <a:gd name="connsiteX3" fmla="*/ 352839 w 478854"/>
              <a:gd name="connsiteY3" fmla="*/ 476250 h 476250"/>
              <a:gd name="connsiteX4" fmla="*/ 0 w 478854"/>
              <a:gd name="connsiteY4" fmla="*/ 476250 h 476250"/>
              <a:gd name="connsiteX0" fmla="*/ 0 w 468620"/>
              <a:gd name="connsiteY0" fmla="*/ 0 h 476250"/>
              <a:gd name="connsiteX1" fmla="*/ 352839 w 468620"/>
              <a:gd name="connsiteY1" fmla="*/ 0 h 476250"/>
              <a:gd name="connsiteX2" fmla="*/ 468620 w 468620"/>
              <a:gd name="connsiteY2" fmla="*/ 238125 h 476250"/>
              <a:gd name="connsiteX3" fmla="*/ 352839 w 468620"/>
              <a:gd name="connsiteY3" fmla="*/ 476250 h 476250"/>
              <a:gd name="connsiteX4" fmla="*/ 0 w 468620"/>
              <a:gd name="connsiteY4" fmla="*/ 476250 h 476250"/>
              <a:gd name="connsiteX0" fmla="*/ 0 w 458604"/>
              <a:gd name="connsiteY0" fmla="*/ 0 h 476250"/>
              <a:gd name="connsiteX1" fmla="*/ 352839 w 458604"/>
              <a:gd name="connsiteY1" fmla="*/ 0 h 476250"/>
              <a:gd name="connsiteX2" fmla="*/ 458604 w 458604"/>
              <a:gd name="connsiteY2" fmla="*/ 238125 h 476250"/>
              <a:gd name="connsiteX3" fmla="*/ 352839 w 458604"/>
              <a:gd name="connsiteY3" fmla="*/ 476250 h 476250"/>
              <a:gd name="connsiteX4" fmla="*/ 0 w 458604"/>
              <a:gd name="connsiteY4" fmla="*/ 476250 h 476250"/>
              <a:gd name="connsiteX0" fmla="*/ 0 w 448802"/>
              <a:gd name="connsiteY0" fmla="*/ 0 h 476250"/>
              <a:gd name="connsiteX1" fmla="*/ 352839 w 448802"/>
              <a:gd name="connsiteY1" fmla="*/ 0 h 476250"/>
              <a:gd name="connsiteX2" fmla="*/ 448802 w 448802"/>
              <a:gd name="connsiteY2" fmla="*/ 238125 h 476250"/>
              <a:gd name="connsiteX3" fmla="*/ 352839 w 448802"/>
              <a:gd name="connsiteY3" fmla="*/ 476250 h 476250"/>
              <a:gd name="connsiteX4" fmla="*/ 0 w 448802"/>
              <a:gd name="connsiteY4" fmla="*/ 476250 h 476250"/>
              <a:gd name="connsiteX0" fmla="*/ 0 w 439210"/>
              <a:gd name="connsiteY0" fmla="*/ 0 h 476250"/>
              <a:gd name="connsiteX1" fmla="*/ 352839 w 439210"/>
              <a:gd name="connsiteY1" fmla="*/ 0 h 476250"/>
              <a:gd name="connsiteX2" fmla="*/ 439210 w 439210"/>
              <a:gd name="connsiteY2" fmla="*/ 238125 h 476250"/>
              <a:gd name="connsiteX3" fmla="*/ 352839 w 439210"/>
              <a:gd name="connsiteY3" fmla="*/ 476250 h 476250"/>
              <a:gd name="connsiteX4" fmla="*/ 0 w 439210"/>
              <a:gd name="connsiteY4" fmla="*/ 476250 h 476250"/>
              <a:gd name="connsiteX0" fmla="*/ 0 w 429823"/>
              <a:gd name="connsiteY0" fmla="*/ 0 h 476250"/>
              <a:gd name="connsiteX1" fmla="*/ 352839 w 429823"/>
              <a:gd name="connsiteY1" fmla="*/ 0 h 476250"/>
              <a:gd name="connsiteX2" fmla="*/ 429823 w 429823"/>
              <a:gd name="connsiteY2" fmla="*/ 238125 h 476250"/>
              <a:gd name="connsiteX3" fmla="*/ 352839 w 429823"/>
              <a:gd name="connsiteY3" fmla="*/ 476250 h 476250"/>
              <a:gd name="connsiteX4" fmla="*/ 0 w 429823"/>
              <a:gd name="connsiteY4" fmla="*/ 476250 h 476250"/>
              <a:gd name="connsiteX0" fmla="*/ 0 w 436948"/>
              <a:gd name="connsiteY0" fmla="*/ 0 h 476250"/>
              <a:gd name="connsiteX1" fmla="*/ 352839 w 436948"/>
              <a:gd name="connsiteY1" fmla="*/ 0 h 476250"/>
              <a:gd name="connsiteX2" fmla="*/ 436948 w 436948"/>
              <a:gd name="connsiteY2" fmla="*/ 238125 h 476250"/>
              <a:gd name="connsiteX3" fmla="*/ 352839 w 436948"/>
              <a:gd name="connsiteY3" fmla="*/ 476250 h 476250"/>
              <a:gd name="connsiteX4" fmla="*/ 0 w 436948"/>
              <a:gd name="connsiteY4" fmla="*/ 476250 h 476250"/>
              <a:gd name="connsiteX0" fmla="*/ 0 w 429705"/>
              <a:gd name="connsiteY0" fmla="*/ 0 h 476250"/>
              <a:gd name="connsiteX1" fmla="*/ 352839 w 429705"/>
              <a:gd name="connsiteY1" fmla="*/ 0 h 476250"/>
              <a:gd name="connsiteX2" fmla="*/ 429705 w 429705"/>
              <a:gd name="connsiteY2" fmla="*/ 238125 h 476250"/>
              <a:gd name="connsiteX3" fmla="*/ 352839 w 429705"/>
              <a:gd name="connsiteY3" fmla="*/ 476250 h 476250"/>
              <a:gd name="connsiteX4" fmla="*/ 0 w 429705"/>
              <a:gd name="connsiteY4" fmla="*/ 476250 h 476250"/>
              <a:gd name="connsiteX0" fmla="*/ 0 w 422582"/>
              <a:gd name="connsiteY0" fmla="*/ 0 h 476250"/>
              <a:gd name="connsiteX1" fmla="*/ 352839 w 422582"/>
              <a:gd name="connsiteY1" fmla="*/ 0 h 476250"/>
              <a:gd name="connsiteX2" fmla="*/ 422582 w 422582"/>
              <a:gd name="connsiteY2" fmla="*/ 238125 h 476250"/>
              <a:gd name="connsiteX3" fmla="*/ 352839 w 422582"/>
              <a:gd name="connsiteY3" fmla="*/ 476250 h 476250"/>
              <a:gd name="connsiteX4" fmla="*/ 0 w 422582"/>
              <a:gd name="connsiteY4" fmla="*/ 476250 h 476250"/>
              <a:gd name="connsiteX0" fmla="*/ 0 w 415577"/>
              <a:gd name="connsiteY0" fmla="*/ 0 h 476250"/>
              <a:gd name="connsiteX1" fmla="*/ 352839 w 415577"/>
              <a:gd name="connsiteY1" fmla="*/ 0 h 476250"/>
              <a:gd name="connsiteX2" fmla="*/ 415577 w 415577"/>
              <a:gd name="connsiteY2" fmla="*/ 238125 h 476250"/>
              <a:gd name="connsiteX3" fmla="*/ 352839 w 415577"/>
              <a:gd name="connsiteY3" fmla="*/ 476250 h 476250"/>
              <a:gd name="connsiteX4" fmla="*/ 0 w 41557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77" h="476250">
                <a:moveTo>
                  <a:pt x="0" y="0"/>
                </a:moveTo>
                <a:lnTo>
                  <a:pt x="352839" y="0"/>
                </a:lnTo>
                <a:lnTo>
                  <a:pt x="415577" y="238125"/>
                </a:lnTo>
                <a:lnTo>
                  <a:pt x="352839" y="476250"/>
                </a:lnTo>
                <a:lnTo>
                  <a:pt x="0" y="476250"/>
                </a:lnTo>
              </a:path>
            </a:pathLst>
          </a:custGeom>
          <a:ln w="22225">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uk-UA"/>
          </a:p>
        </p:txBody>
      </p:sp>
      <p:sp>
        <p:nvSpPr>
          <p:cNvPr id="114" name="RBContent114">
            <a:extLst>
              <a:ext uri="{FF2B5EF4-FFF2-40B4-BE49-F238E27FC236}">
                <a16:creationId xmlns:a16="http://schemas.microsoft.com/office/drawing/2014/main" id="{18A9BB51-1E40-4DDB-B722-14CACC9A354D}"/>
              </a:ext>
            </a:extLst>
          </p:cNvPr>
          <p:cNvSpPr txBox="1">
            <a:spLocks/>
          </p:cNvSpPr>
          <p:nvPr/>
        </p:nvSpPr>
        <p:spPr>
          <a:xfrm>
            <a:off x="1030106" y="2399410"/>
            <a:ext cx="3450390" cy="2908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en-US" sz="2100">
                <a:solidFill>
                  <a:schemeClr val="accent5"/>
                </a:solidFill>
                <a:latin typeface="+mn-lt"/>
                <a:cs typeface="+mn-cs"/>
                <a:sym typeface="+mn-lt"/>
              </a:rPr>
              <a:t>The Outlook includes:</a:t>
            </a:r>
          </a:p>
        </p:txBody>
      </p:sp>
      <p:sp>
        <p:nvSpPr>
          <p:cNvPr id="52" name="rbStamp_Illustrative">
            <a:extLst>
              <a:ext uri="{FF2B5EF4-FFF2-40B4-BE49-F238E27FC236}">
                <a16:creationId xmlns:a16="http://schemas.microsoft.com/office/drawing/2014/main" id="{965216BC-4CC9-4619-8F0C-E19A311AE97A}"/>
              </a:ext>
            </a:extLst>
          </p:cNvPr>
          <p:cNvSpPr txBox="1"/>
          <p:nvPr/>
        </p:nvSpPr>
        <p:spPr>
          <a:xfrm>
            <a:off x="6781340" y="1712535"/>
            <a:ext cx="1863533"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en-US">
                <a:solidFill>
                  <a:schemeClr val="accent6"/>
                </a:solidFill>
                <a:latin typeface="+mn-lt"/>
                <a:cs typeface="Arial Narrow" pitchFamily="34" charset="0"/>
              </a:rPr>
              <a:t>In cooperation with </a:t>
            </a:r>
            <a:r>
              <a:rPr lang="en-US" err="1">
                <a:solidFill>
                  <a:schemeClr val="accent6"/>
                </a:solidFill>
                <a:latin typeface="+mn-lt"/>
                <a:cs typeface="Arial Narrow" pitchFamily="34" charset="0"/>
              </a:rPr>
              <a:t>ILF</a:t>
            </a:r>
            <a:endParaRPr lang="uk-UA" noProof="0">
              <a:solidFill>
                <a:schemeClr val="accent6"/>
              </a:solidFill>
              <a:latin typeface="+mn-lt"/>
              <a:cs typeface="Arial Narrow" pitchFamily="34" charset="0"/>
            </a:endParaRPr>
          </a:p>
        </p:txBody>
      </p:sp>
      <p:pic>
        <p:nvPicPr>
          <p:cNvPr id="54" name="Picture 13">
            <a:extLst>
              <a:ext uri="{FF2B5EF4-FFF2-40B4-BE49-F238E27FC236}">
                <a16:creationId xmlns:a16="http://schemas.microsoft.com/office/drawing/2014/main" id="{478C06DE-687E-4C66-87BC-9BCAD7DC1D9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
        <p:nvSpPr>
          <p:cNvPr id="43" name="RbSticker">
            <a:extLst>
              <a:ext uri="{FF2B5EF4-FFF2-40B4-BE49-F238E27FC236}">
                <a16:creationId xmlns:a16="http://schemas.microsoft.com/office/drawing/2014/main" id="{C1D24543-5C64-423F-9CBC-CBDB34E66C08}"/>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Introduction &amp; methodology</a:t>
            </a:r>
          </a:p>
        </p:txBody>
      </p:sp>
      <p:sp>
        <p:nvSpPr>
          <p:cNvPr id="46" name="RbNavigator">
            <a:extLst>
              <a:ext uri="{FF2B5EF4-FFF2-40B4-BE49-F238E27FC236}">
                <a16:creationId xmlns:a16="http://schemas.microsoft.com/office/drawing/2014/main" id="{28BAB297-BD34-47BA-8FBD-CC2780F66217}"/>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a:solidFill>
                  <a:schemeClr val="bg1"/>
                </a:solidFill>
                <a:latin typeface="+mn-lt"/>
                <a:cs typeface="Arial Narrow" pitchFamily="34" charset="0"/>
              </a:rPr>
              <a:t>A</a:t>
            </a:r>
          </a:p>
        </p:txBody>
      </p:sp>
    </p:spTree>
    <p:extLst>
      <p:ext uri="{BB962C8B-B14F-4D97-AF65-F5344CB8AC3E}">
        <p14:creationId xmlns:p14="http://schemas.microsoft.com/office/powerpoint/2010/main" val="2796052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2AB134-7481-4BAC-9B6A-7AD7D42F97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20" imgW="396" imgH="396" progId="TCLayout.ActiveDocument.1">
                  <p:embed/>
                </p:oleObj>
              </mc:Choice>
              <mc:Fallback>
                <p:oleObj name="think-cell Slide" r:id="rId20" imgW="396" imgH="396" progId="TCLayout.ActiveDocument.1">
                  <p:embed/>
                  <p:pic>
                    <p:nvPicPr>
                      <p:cNvPr id="3" name="Object 2" hidden="1">
                        <a:extLst>
                          <a:ext uri="{FF2B5EF4-FFF2-40B4-BE49-F238E27FC236}">
                            <a16:creationId xmlns:a16="http://schemas.microsoft.com/office/drawing/2014/main" id="{6D2AB134-7481-4BAC-9B6A-7AD7D42F975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22C506B8-B704-4F4B-85E8-4D69A0B07715}"/>
              </a:ext>
            </a:extLst>
          </p:cNvPr>
          <p:cNvSpPr>
            <a:spLocks/>
          </p:cNvSpPr>
          <p:nvPr/>
        </p:nvSpPr>
        <p:spPr>
          <a:xfrm>
            <a:off x="741000" y="2208741"/>
            <a:ext cx="4212000" cy="4212000"/>
          </a:xfrm>
          <a:prstGeom prst="ellipse">
            <a:avLst/>
          </a:prstGeom>
          <a:solidFill>
            <a:schemeClr val="accent1">
              <a:lumMod val="75000"/>
              <a:alpha val="30000"/>
            </a:scheme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8" name="Oval 7">
            <a:extLst>
              <a:ext uri="{FF2B5EF4-FFF2-40B4-BE49-F238E27FC236}">
                <a16:creationId xmlns:a16="http://schemas.microsoft.com/office/drawing/2014/main" id="{0501C51C-3C57-4CCC-8041-A78BDC002187}"/>
              </a:ext>
            </a:extLst>
          </p:cNvPr>
          <p:cNvSpPr>
            <a:spLocks/>
          </p:cNvSpPr>
          <p:nvPr/>
        </p:nvSpPr>
        <p:spPr>
          <a:xfrm>
            <a:off x="4183698" y="4208485"/>
            <a:ext cx="1908000" cy="1908000"/>
          </a:xfrm>
          <a:prstGeom prst="ellipse">
            <a:avLst/>
          </a:prstGeom>
          <a:solidFill>
            <a:srgbClr val="156C9C">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10" name="Oval 9">
            <a:extLst>
              <a:ext uri="{FF2B5EF4-FFF2-40B4-BE49-F238E27FC236}">
                <a16:creationId xmlns:a16="http://schemas.microsoft.com/office/drawing/2014/main" id="{9E8AC298-CDBC-4A0F-B7AE-D8C145A71166}"/>
              </a:ext>
            </a:extLst>
          </p:cNvPr>
          <p:cNvSpPr>
            <a:spLocks/>
          </p:cNvSpPr>
          <p:nvPr/>
        </p:nvSpPr>
        <p:spPr>
          <a:xfrm>
            <a:off x="2858002" y="4075015"/>
            <a:ext cx="1908000" cy="1908000"/>
          </a:xfrm>
          <a:prstGeom prst="ellipse">
            <a:avLst/>
          </a:prstGeom>
          <a:solidFill>
            <a:srgbClr val="96AECA">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7" name="Oval 6">
            <a:extLst>
              <a:ext uri="{FF2B5EF4-FFF2-40B4-BE49-F238E27FC236}">
                <a16:creationId xmlns:a16="http://schemas.microsoft.com/office/drawing/2014/main" id="{02674596-AEA7-48E6-8D07-071392A27955}"/>
              </a:ext>
            </a:extLst>
          </p:cNvPr>
          <p:cNvSpPr>
            <a:spLocks/>
          </p:cNvSpPr>
          <p:nvPr/>
        </p:nvSpPr>
        <p:spPr>
          <a:xfrm>
            <a:off x="1349909" y="2552842"/>
            <a:ext cx="1908000" cy="1908000"/>
          </a:xfrm>
          <a:prstGeom prst="ellipse">
            <a:avLst/>
          </a:prstGeom>
          <a:solidFill>
            <a:srgbClr val="00AAC9">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a:solidFill>
                <a:schemeClr val="bg1"/>
              </a:solidFill>
              <a:effectLst/>
            </a:endParaRPr>
          </a:p>
        </p:txBody>
      </p:sp>
      <p:sp>
        <p:nvSpPr>
          <p:cNvPr id="11" name="TextBox 10">
            <a:extLst>
              <a:ext uri="{FF2B5EF4-FFF2-40B4-BE49-F238E27FC236}">
                <a16:creationId xmlns:a16="http://schemas.microsoft.com/office/drawing/2014/main" id="{301CC2E7-5268-4027-9DBC-C7B54C13D02C}"/>
              </a:ext>
            </a:extLst>
          </p:cNvPr>
          <p:cNvSpPr txBox="1"/>
          <p:nvPr/>
        </p:nvSpPr>
        <p:spPr>
          <a:xfrm>
            <a:off x="1464535" y="3043721"/>
            <a:ext cx="1957610" cy="674544"/>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500">
                <a:sym typeface="+mn-lt"/>
              </a:rPr>
              <a:t>Group 1: Hydropower high share</a:t>
            </a:r>
            <a:endParaRPr lang="en-US" sz="1500" b="0">
              <a:sym typeface="+mn-lt"/>
            </a:endParaRPr>
          </a:p>
          <a:p>
            <a:pPr>
              <a:lnSpc>
                <a:spcPct val="90000"/>
              </a:lnSpc>
              <a:spcBef>
                <a:spcPts val="400"/>
              </a:spcBef>
              <a:buClr>
                <a:srgbClr val="000000"/>
              </a:buClr>
              <a:buSzPct val="100000"/>
            </a:pPr>
            <a:endParaRPr lang="en-GB" sz="1500" b="0" noProof="0">
              <a:latin typeface="+mn-lt"/>
              <a:cs typeface="Arial Narrow" pitchFamily="34" charset="0"/>
            </a:endParaRPr>
          </a:p>
        </p:txBody>
      </p:sp>
      <p:grpSp>
        <p:nvGrpSpPr>
          <p:cNvPr id="12" name="Group 11">
            <a:extLst>
              <a:ext uri="{FF2B5EF4-FFF2-40B4-BE49-F238E27FC236}">
                <a16:creationId xmlns:a16="http://schemas.microsoft.com/office/drawing/2014/main" id="{45D98FE1-3187-4B0F-B141-FBFCF3843E7B}"/>
              </a:ext>
            </a:extLst>
          </p:cNvPr>
          <p:cNvGrpSpPr/>
          <p:nvPr/>
        </p:nvGrpSpPr>
        <p:grpSpPr>
          <a:xfrm>
            <a:off x="1464535" y="3517649"/>
            <a:ext cx="468000" cy="252000"/>
            <a:chOff x="171449" y="1157572"/>
            <a:chExt cx="1440000" cy="720000"/>
          </a:xfrm>
        </p:grpSpPr>
        <p:grpSp>
          <p:nvGrpSpPr>
            <p:cNvPr id="13" name="Group 12">
              <a:extLst>
                <a:ext uri="{FF2B5EF4-FFF2-40B4-BE49-F238E27FC236}">
                  <a16:creationId xmlns:a16="http://schemas.microsoft.com/office/drawing/2014/main" id="{EE1B0610-645E-4FB5-938E-4E64CC92271B}"/>
                </a:ext>
              </a:extLst>
            </p:cNvPr>
            <p:cNvGrpSpPr/>
            <p:nvPr/>
          </p:nvGrpSpPr>
          <p:grpSpPr>
            <a:xfrm>
              <a:off x="171449" y="1157572"/>
              <a:ext cx="1440000" cy="720000"/>
              <a:chOff x="171449" y="1157572"/>
              <a:chExt cx="1440000" cy="720000"/>
            </a:xfrm>
          </p:grpSpPr>
          <p:pic>
            <p:nvPicPr>
              <p:cNvPr id="15" name="Picture 14" descr="d:\Documents and settings\Marc_Robisch\Desktop\Flaggen_gross\gg-lgflag.gif">
                <a:extLst>
                  <a:ext uri="{FF2B5EF4-FFF2-40B4-BE49-F238E27FC236}">
                    <a16:creationId xmlns:a16="http://schemas.microsoft.com/office/drawing/2014/main" id="{82BCF882-60EE-424F-861E-68FBE2EF1626}"/>
                  </a:ext>
                </a:extLst>
              </p:cNvPr>
              <p:cNvPicPr>
                <a:picLocks noChangeAspect="1" noChangeArrowheads="1"/>
              </p:cNvPicPr>
              <p:nvPr>
                <p:custDataLst>
                  <p:tags r:id="rId17"/>
                </p:custDataLst>
              </p:nvPr>
            </p:nvPicPr>
            <p:blipFill>
              <a:blip r:embed="rId22" cstate="print"/>
              <a:srcRect l="86106" t="605" r="258" b="385"/>
              <a:stretch>
                <a:fillRect/>
              </a:stretch>
            </p:blipFill>
            <p:spPr bwMode="auto">
              <a:xfrm>
                <a:off x="171449" y="1157572"/>
                <a:ext cx="1440000" cy="720000"/>
              </a:xfrm>
              <a:prstGeom prst="rect">
                <a:avLst/>
              </a:prstGeom>
              <a:noFill/>
            </p:spPr>
          </p:pic>
          <p:pic>
            <p:nvPicPr>
              <p:cNvPr id="16" name="Picture 15" descr="d:\Documents and settings\Marc_Robisch\Desktop\Flaggen_gross\gg-lgflag.gif">
                <a:extLst>
                  <a:ext uri="{FF2B5EF4-FFF2-40B4-BE49-F238E27FC236}">
                    <a16:creationId xmlns:a16="http://schemas.microsoft.com/office/drawing/2014/main" id="{B1439000-49CC-4D78-896E-65E2473AFA38}"/>
                  </a:ext>
                </a:extLst>
              </p:cNvPr>
              <p:cNvPicPr>
                <a:picLocks noChangeAspect="1" noChangeArrowheads="1"/>
              </p:cNvPicPr>
              <p:nvPr>
                <p:custDataLst>
                  <p:tags r:id="rId18"/>
                </p:custDataLst>
              </p:nvPr>
            </p:nvPicPr>
            <p:blipFill>
              <a:blip r:embed="rId22" cstate="print"/>
              <a:srcRect l="479" t="605" r="258" b="385"/>
              <a:stretch>
                <a:fillRect/>
              </a:stretch>
            </p:blipFill>
            <p:spPr bwMode="auto">
              <a:xfrm>
                <a:off x="308205" y="1157572"/>
                <a:ext cx="1166489" cy="720000"/>
              </a:xfrm>
              <a:prstGeom prst="rect">
                <a:avLst/>
              </a:prstGeom>
              <a:noFill/>
            </p:spPr>
          </p:pic>
        </p:grpSp>
        <p:sp>
          <p:nvSpPr>
            <p:cNvPr id="14" name="Rectangle 13">
              <a:extLst>
                <a:ext uri="{FF2B5EF4-FFF2-40B4-BE49-F238E27FC236}">
                  <a16:creationId xmlns:a16="http://schemas.microsoft.com/office/drawing/2014/main" id="{1A1B2FFB-A54C-4201-BA93-26CFE3EB1CB3}"/>
                </a:ext>
              </a:extLst>
            </p:cNvPr>
            <p:cNvSpPr/>
            <p:nvPr>
              <p:custDataLst>
                <p:tags r:id="rId16"/>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17" name="Group 16">
            <a:extLst>
              <a:ext uri="{FF2B5EF4-FFF2-40B4-BE49-F238E27FC236}">
                <a16:creationId xmlns:a16="http://schemas.microsoft.com/office/drawing/2014/main" id="{5D6B88CD-C79C-437E-A7EB-B2F031CD3516}"/>
              </a:ext>
            </a:extLst>
          </p:cNvPr>
          <p:cNvGrpSpPr/>
          <p:nvPr/>
        </p:nvGrpSpPr>
        <p:grpSpPr>
          <a:xfrm>
            <a:off x="2033339" y="3517649"/>
            <a:ext cx="468000" cy="252000"/>
            <a:chOff x="171449" y="1157572"/>
            <a:chExt cx="1440000" cy="720000"/>
          </a:xfrm>
        </p:grpSpPr>
        <p:pic>
          <p:nvPicPr>
            <p:cNvPr id="18" name="Picture 3" descr="d:\Documents and settings\Marc_Robisch\Desktop\Flaggen_gross\kg-lgflag.gif">
              <a:extLst>
                <a:ext uri="{FF2B5EF4-FFF2-40B4-BE49-F238E27FC236}">
                  <a16:creationId xmlns:a16="http://schemas.microsoft.com/office/drawing/2014/main" id="{4F0834B6-DBDE-4863-B2CA-C6842B7FE1E5}"/>
                </a:ext>
              </a:extLst>
            </p:cNvPr>
            <p:cNvPicPr>
              <a:picLocks noChangeAspect="1" noChangeArrowheads="1"/>
            </p:cNvPicPr>
            <p:nvPr/>
          </p:nvPicPr>
          <p:blipFill>
            <a:blip r:embed="rId23" cstate="print"/>
            <a:srcRect l="110" t="9283" r="258" b="9769"/>
            <a:stretch>
              <a:fillRect/>
            </a:stretch>
          </p:blipFill>
          <p:spPr bwMode="auto">
            <a:xfrm>
              <a:off x="171449" y="1157572"/>
              <a:ext cx="1440000" cy="720000"/>
            </a:xfrm>
            <a:prstGeom prst="rect">
              <a:avLst/>
            </a:prstGeom>
            <a:noFill/>
          </p:spPr>
        </p:pic>
        <p:sp>
          <p:nvSpPr>
            <p:cNvPr id="19" name="Rectangle 18">
              <a:extLst>
                <a:ext uri="{FF2B5EF4-FFF2-40B4-BE49-F238E27FC236}">
                  <a16:creationId xmlns:a16="http://schemas.microsoft.com/office/drawing/2014/main" id="{CAAEE213-BB96-43CC-A61A-6AF391B7BBE5}"/>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20" name="Group 19">
            <a:extLst>
              <a:ext uri="{FF2B5EF4-FFF2-40B4-BE49-F238E27FC236}">
                <a16:creationId xmlns:a16="http://schemas.microsoft.com/office/drawing/2014/main" id="{8E449FD9-8CF9-4D0F-A96B-73DDB18EF278}"/>
              </a:ext>
            </a:extLst>
          </p:cNvPr>
          <p:cNvGrpSpPr/>
          <p:nvPr/>
        </p:nvGrpSpPr>
        <p:grpSpPr>
          <a:xfrm>
            <a:off x="2602143" y="3517649"/>
            <a:ext cx="468000" cy="252000"/>
            <a:chOff x="171449" y="1157572"/>
            <a:chExt cx="1440000" cy="720000"/>
          </a:xfrm>
        </p:grpSpPr>
        <p:pic>
          <p:nvPicPr>
            <p:cNvPr id="21" name="Picture 20" descr="d:\Documents and settings\Marc_Robisch\Desktop\Flaggen_gross\ti-lgflag.gif">
              <a:extLst>
                <a:ext uri="{FF2B5EF4-FFF2-40B4-BE49-F238E27FC236}">
                  <a16:creationId xmlns:a16="http://schemas.microsoft.com/office/drawing/2014/main" id="{574FC9C1-C3A9-47EA-97A9-31FA05359CD3}"/>
                </a:ext>
              </a:extLst>
            </p:cNvPr>
            <p:cNvPicPr>
              <a:picLocks noChangeAspect="1" noChangeArrowheads="1"/>
            </p:cNvPicPr>
            <p:nvPr/>
          </p:nvPicPr>
          <p:blipFill>
            <a:blip r:embed="rId24" cstate="print"/>
            <a:srcRect l="3861" t="717" r="4208" b="607"/>
            <a:stretch>
              <a:fillRect/>
            </a:stretch>
          </p:blipFill>
          <p:spPr bwMode="auto">
            <a:xfrm>
              <a:off x="171449" y="1164167"/>
              <a:ext cx="1440000" cy="713405"/>
            </a:xfrm>
            <a:prstGeom prst="rect">
              <a:avLst/>
            </a:prstGeom>
            <a:noFill/>
          </p:spPr>
        </p:pic>
        <p:sp>
          <p:nvSpPr>
            <p:cNvPr id="22" name="Rectangle 21">
              <a:extLst>
                <a:ext uri="{FF2B5EF4-FFF2-40B4-BE49-F238E27FC236}">
                  <a16:creationId xmlns:a16="http://schemas.microsoft.com/office/drawing/2014/main" id="{3C90953F-B757-486A-AE58-32A3B155CE10}"/>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sp>
        <p:nvSpPr>
          <p:cNvPr id="23" name="Formatted_text">
            <a:extLst>
              <a:ext uri="{FF2B5EF4-FFF2-40B4-BE49-F238E27FC236}">
                <a16:creationId xmlns:a16="http://schemas.microsoft.com/office/drawing/2014/main" id="{D788FF9E-BE7B-4F4B-A45F-5F9D12195B4C}"/>
              </a:ext>
            </a:extLst>
          </p:cNvPr>
          <p:cNvSpPr txBox="1">
            <a:spLocks/>
          </p:cNvSpPr>
          <p:nvPr/>
        </p:nvSpPr>
        <p:spPr>
          <a:xfrm>
            <a:off x="3086015" y="4374218"/>
            <a:ext cx="1174730" cy="623248"/>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Group 2: </a:t>
            </a:r>
            <a:endParaRPr lang="ru-RU" sz="1500" b="1">
              <a:latin typeface="+mn-lt"/>
              <a:cs typeface="+mn-cs"/>
              <a:sym typeface="+mn-lt"/>
            </a:endParaRPr>
          </a:p>
          <a:p>
            <a:pPr>
              <a:lnSpc>
                <a:spcPct val="90000"/>
              </a:lnSpc>
              <a:buClr>
                <a:schemeClr val="tx1"/>
              </a:buClr>
              <a:buSzPct val="100000"/>
            </a:pPr>
            <a:r>
              <a:rPr lang="en-HK" sz="1500" b="1">
                <a:latin typeface="+mn-lt"/>
                <a:cs typeface="+mn-cs"/>
                <a:sym typeface="+mn-lt"/>
              </a:rPr>
              <a:t>Hydrocarbon </a:t>
            </a:r>
            <a:endParaRPr lang="ru-RU" sz="1500" b="1">
              <a:latin typeface="+mn-lt"/>
              <a:cs typeface="+mn-cs"/>
              <a:sym typeface="+mn-lt"/>
            </a:endParaRPr>
          </a:p>
          <a:p>
            <a:pPr>
              <a:lnSpc>
                <a:spcPct val="90000"/>
              </a:lnSpc>
              <a:buClr>
                <a:schemeClr val="tx1"/>
              </a:buClr>
              <a:buSzPct val="100000"/>
            </a:pPr>
            <a:r>
              <a:rPr lang="en-HK" sz="1500">
                <a:latin typeface="+mn-lt"/>
                <a:sym typeface="+mn-lt"/>
              </a:rPr>
              <a:t>high share</a:t>
            </a:r>
            <a:endParaRPr lang="en-US" sz="1500" b="0">
              <a:latin typeface="+mn-lt"/>
              <a:sym typeface="+mn-lt"/>
            </a:endParaRPr>
          </a:p>
        </p:txBody>
      </p:sp>
      <p:grpSp>
        <p:nvGrpSpPr>
          <p:cNvPr id="24" name="Group 23">
            <a:extLst>
              <a:ext uri="{FF2B5EF4-FFF2-40B4-BE49-F238E27FC236}">
                <a16:creationId xmlns:a16="http://schemas.microsoft.com/office/drawing/2014/main" id="{C1F55DB2-690A-4A59-A806-A53C505171B5}"/>
              </a:ext>
            </a:extLst>
          </p:cNvPr>
          <p:cNvGrpSpPr/>
          <p:nvPr/>
        </p:nvGrpSpPr>
        <p:grpSpPr>
          <a:xfrm>
            <a:off x="4238369" y="5027330"/>
            <a:ext cx="468000" cy="252000"/>
            <a:chOff x="171449" y="1157572"/>
            <a:chExt cx="1440000" cy="720000"/>
          </a:xfrm>
        </p:grpSpPr>
        <p:grpSp>
          <p:nvGrpSpPr>
            <p:cNvPr id="25" name="Group 24">
              <a:extLst>
                <a:ext uri="{FF2B5EF4-FFF2-40B4-BE49-F238E27FC236}">
                  <a16:creationId xmlns:a16="http://schemas.microsoft.com/office/drawing/2014/main" id="{ED1841C6-0EB1-48EE-AF44-8995C39F81D5}"/>
                </a:ext>
              </a:extLst>
            </p:cNvPr>
            <p:cNvGrpSpPr/>
            <p:nvPr/>
          </p:nvGrpSpPr>
          <p:grpSpPr>
            <a:xfrm>
              <a:off x="171449" y="1157572"/>
              <a:ext cx="1440000" cy="720000"/>
              <a:chOff x="171449" y="1157572"/>
              <a:chExt cx="1440000" cy="720000"/>
            </a:xfrm>
          </p:grpSpPr>
          <p:pic>
            <p:nvPicPr>
              <p:cNvPr id="27" name="Picture 26" descr="d:\Documents and settings\Marc_Robisch\Desktop\Flaggen_gross\kz-lgflag.gif">
                <a:extLst>
                  <a:ext uri="{FF2B5EF4-FFF2-40B4-BE49-F238E27FC236}">
                    <a16:creationId xmlns:a16="http://schemas.microsoft.com/office/drawing/2014/main" id="{6B091E3F-1275-43E0-81E6-0B59B0F395E2}"/>
                  </a:ext>
                </a:extLst>
              </p:cNvPr>
              <p:cNvPicPr>
                <a:picLocks noChangeAspect="1" noChangeArrowheads="1"/>
              </p:cNvPicPr>
              <p:nvPr>
                <p:custDataLst>
                  <p:tags r:id="rId14"/>
                </p:custDataLst>
              </p:nvPr>
            </p:nvPicPr>
            <p:blipFill>
              <a:blip r:embed="rId25" cstate="print"/>
              <a:srcRect l="74805" r="3103" b="1325"/>
              <a:stretch>
                <a:fillRect/>
              </a:stretch>
            </p:blipFill>
            <p:spPr bwMode="auto">
              <a:xfrm>
                <a:off x="171449" y="1157572"/>
                <a:ext cx="1440000" cy="720000"/>
              </a:xfrm>
              <a:prstGeom prst="rect">
                <a:avLst/>
              </a:prstGeom>
              <a:noFill/>
            </p:spPr>
          </p:pic>
          <p:pic>
            <p:nvPicPr>
              <p:cNvPr id="28" name="Picture 27" descr="d:\Documents and settings\Marc_Robisch\Desktop\Flaggen_gross\kz-lgflag.gif">
                <a:extLst>
                  <a:ext uri="{FF2B5EF4-FFF2-40B4-BE49-F238E27FC236}">
                    <a16:creationId xmlns:a16="http://schemas.microsoft.com/office/drawing/2014/main" id="{9A09A0E9-9C37-4496-AB3E-F147815984E9}"/>
                  </a:ext>
                </a:extLst>
              </p:cNvPr>
              <p:cNvPicPr>
                <a:picLocks noChangeAspect="1" noChangeArrowheads="1"/>
              </p:cNvPicPr>
              <p:nvPr>
                <p:custDataLst>
                  <p:tags r:id="rId15"/>
                </p:custDataLst>
              </p:nvPr>
            </p:nvPicPr>
            <p:blipFill>
              <a:blip r:embed="rId25" cstate="print"/>
              <a:srcRect l="1700" r="515" b="1325"/>
              <a:stretch>
                <a:fillRect/>
              </a:stretch>
            </p:blipFill>
            <p:spPr bwMode="auto">
              <a:xfrm>
                <a:off x="233363" y="1157572"/>
                <a:ext cx="1159388" cy="720000"/>
              </a:xfrm>
              <a:prstGeom prst="rect">
                <a:avLst/>
              </a:prstGeom>
              <a:noFill/>
            </p:spPr>
          </p:pic>
        </p:grpSp>
        <p:sp>
          <p:nvSpPr>
            <p:cNvPr id="26" name="Rectangle 25">
              <a:extLst>
                <a:ext uri="{FF2B5EF4-FFF2-40B4-BE49-F238E27FC236}">
                  <a16:creationId xmlns:a16="http://schemas.microsoft.com/office/drawing/2014/main" id="{DDFA5F11-45A8-4506-AC5F-76E3665F7B58}"/>
                </a:ext>
              </a:extLst>
            </p:cNvPr>
            <p:cNvSpPr/>
            <p:nvPr>
              <p:custDataLst>
                <p:tags r:id="rId13"/>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29" name="Group 28">
            <a:extLst>
              <a:ext uri="{FF2B5EF4-FFF2-40B4-BE49-F238E27FC236}">
                <a16:creationId xmlns:a16="http://schemas.microsoft.com/office/drawing/2014/main" id="{16667FBB-B8BC-410D-933D-1297CADE07E8}"/>
              </a:ext>
            </a:extLst>
          </p:cNvPr>
          <p:cNvGrpSpPr/>
          <p:nvPr/>
        </p:nvGrpSpPr>
        <p:grpSpPr>
          <a:xfrm>
            <a:off x="3121862" y="5030102"/>
            <a:ext cx="468000" cy="252000"/>
            <a:chOff x="171449" y="1157572"/>
            <a:chExt cx="1440000" cy="720000"/>
          </a:xfrm>
        </p:grpSpPr>
        <p:pic>
          <p:nvPicPr>
            <p:cNvPr id="30" name="Picture 29" descr="d:\Documents and settings\Marc_Robisch\Desktop\Flaggen_gross\aj-lgflag.gif">
              <a:extLst>
                <a:ext uri="{FF2B5EF4-FFF2-40B4-BE49-F238E27FC236}">
                  <a16:creationId xmlns:a16="http://schemas.microsoft.com/office/drawing/2014/main" id="{7F8F219E-4F5C-4070-8BA4-640C0F0A3EE3}"/>
                </a:ext>
              </a:extLst>
            </p:cNvPr>
            <p:cNvPicPr>
              <a:picLocks noChangeAspect="1" noChangeArrowheads="1"/>
            </p:cNvPicPr>
            <p:nvPr>
              <p:custDataLst>
                <p:tags r:id="rId11"/>
              </p:custDataLst>
            </p:nvPr>
          </p:nvPicPr>
          <p:blipFill>
            <a:blip r:embed="rId26" cstate="print"/>
            <a:srcRect l="447" t="1324" r="895" b="1325"/>
            <a:stretch>
              <a:fillRect/>
            </a:stretch>
          </p:blipFill>
          <p:spPr bwMode="auto">
            <a:xfrm>
              <a:off x="171449" y="1157572"/>
              <a:ext cx="1440000" cy="720000"/>
            </a:xfrm>
            <a:prstGeom prst="rect">
              <a:avLst/>
            </a:prstGeom>
            <a:noFill/>
          </p:spPr>
        </p:pic>
        <p:sp>
          <p:nvSpPr>
            <p:cNvPr id="31" name="Rectangle 30">
              <a:extLst>
                <a:ext uri="{FF2B5EF4-FFF2-40B4-BE49-F238E27FC236}">
                  <a16:creationId xmlns:a16="http://schemas.microsoft.com/office/drawing/2014/main" id="{B3E42387-4833-4988-97C6-CADFD8267E31}"/>
                </a:ext>
              </a:extLst>
            </p:cNvPr>
            <p:cNvSpPr/>
            <p:nvPr>
              <p:custDataLst>
                <p:tags r:id="rId12"/>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32" name="Group 31">
            <a:extLst>
              <a:ext uri="{FF2B5EF4-FFF2-40B4-BE49-F238E27FC236}">
                <a16:creationId xmlns:a16="http://schemas.microsoft.com/office/drawing/2014/main" id="{79A6A4C3-E115-4CE0-81FE-DE710D2ED394}"/>
              </a:ext>
            </a:extLst>
          </p:cNvPr>
          <p:cNvGrpSpPr/>
          <p:nvPr/>
        </p:nvGrpSpPr>
        <p:grpSpPr>
          <a:xfrm>
            <a:off x="3121862" y="5367414"/>
            <a:ext cx="468000" cy="252000"/>
            <a:chOff x="171449" y="1157572"/>
            <a:chExt cx="1440000" cy="720000"/>
          </a:xfrm>
        </p:grpSpPr>
        <p:grpSp>
          <p:nvGrpSpPr>
            <p:cNvPr id="33" name="Group 32">
              <a:extLst>
                <a:ext uri="{FF2B5EF4-FFF2-40B4-BE49-F238E27FC236}">
                  <a16:creationId xmlns:a16="http://schemas.microsoft.com/office/drawing/2014/main" id="{AC2B9F50-F8A8-4359-BD5F-E6B37EE00710}"/>
                </a:ext>
              </a:extLst>
            </p:cNvPr>
            <p:cNvGrpSpPr/>
            <p:nvPr>
              <p:custDataLst>
                <p:tags r:id="rId7"/>
              </p:custDataLst>
            </p:nvPr>
          </p:nvGrpSpPr>
          <p:grpSpPr>
            <a:xfrm>
              <a:off x="171449" y="1157572"/>
              <a:ext cx="1440000" cy="720000"/>
              <a:chOff x="171449" y="1157572"/>
              <a:chExt cx="1440000" cy="720000"/>
            </a:xfrm>
          </p:grpSpPr>
          <p:pic>
            <p:nvPicPr>
              <p:cNvPr id="35" name="Picture 34" descr="d:\Documents and settings\Marc_Robisch\Desktop\Flaggen_gross\tx-lgflag.gif">
                <a:extLst>
                  <a:ext uri="{FF2B5EF4-FFF2-40B4-BE49-F238E27FC236}">
                    <a16:creationId xmlns:a16="http://schemas.microsoft.com/office/drawing/2014/main" id="{A3BEC637-3175-426F-8BAE-1C1766932EF5}"/>
                  </a:ext>
                </a:extLst>
              </p:cNvPr>
              <p:cNvPicPr>
                <a:picLocks noChangeAspect="1" noChangeArrowheads="1"/>
              </p:cNvPicPr>
              <p:nvPr>
                <p:custDataLst>
                  <p:tags r:id="rId9"/>
                </p:custDataLst>
              </p:nvPr>
            </p:nvPicPr>
            <p:blipFill>
              <a:blip r:embed="rId27" cstate="print"/>
              <a:srcRect l="61506"/>
              <a:stretch>
                <a:fillRect/>
              </a:stretch>
            </p:blipFill>
            <p:spPr bwMode="auto">
              <a:xfrm>
                <a:off x="171449" y="1157572"/>
                <a:ext cx="1440000" cy="720000"/>
              </a:xfrm>
              <a:prstGeom prst="rect">
                <a:avLst/>
              </a:prstGeom>
              <a:noFill/>
            </p:spPr>
          </p:pic>
          <p:pic>
            <p:nvPicPr>
              <p:cNvPr id="36" name="Picture 35" descr="d:\Documents and settings\Marc_Robisch\Desktop\Flaggen_gross\tx-lgflag.gif">
                <a:extLst>
                  <a:ext uri="{FF2B5EF4-FFF2-40B4-BE49-F238E27FC236}">
                    <a16:creationId xmlns:a16="http://schemas.microsoft.com/office/drawing/2014/main" id="{9AFBBFBC-4BE2-4EA8-A64E-214DF3EEBED7}"/>
                  </a:ext>
                </a:extLst>
              </p:cNvPr>
              <p:cNvPicPr>
                <a:picLocks noChangeAspect="1" noChangeArrowheads="1"/>
              </p:cNvPicPr>
              <p:nvPr>
                <p:custDataLst>
                  <p:tags r:id="rId10"/>
                </p:custDataLst>
              </p:nvPr>
            </p:nvPicPr>
            <p:blipFill>
              <a:blip r:embed="rId27" cstate="print"/>
              <a:srcRect/>
              <a:stretch>
                <a:fillRect/>
              </a:stretch>
            </p:blipFill>
            <p:spPr bwMode="auto">
              <a:xfrm>
                <a:off x="171449" y="1157572"/>
                <a:ext cx="1172538" cy="720000"/>
              </a:xfrm>
              <a:prstGeom prst="rect">
                <a:avLst/>
              </a:prstGeom>
              <a:noFill/>
            </p:spPr>
          </p:pic>
        </p:grpSp>
        <p:sp>
          <p:nvSpPr>
            <p:cNvPr id="34" name="Rectangle 33">
              <a:extLst>
                <a:ext uri="{FF2B5EF4-FFF2-40B4-BE49-F238E27FC236}">
                  <a16:creationId xmlns:a16="http://schemas.microsoft.com/office/drawing/2014/main" id="{2FD21334-25B5-474E-B5AB-3D6E6779900D}"/>
                </a:ext>
              </a:extLst>
            </p:cNvPr>
            <p:cNvSpPr/>
            <p:nvPr>
              <p:custDataLst>
                <p:tags r:id="rId8"/>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37" name="Group 36">
            <a:extLst>
              <a:ext uri="{FF2B5EF4-FFF2-40B4-BE49-F238E27FC236}">
                <a16:creationId xmlns:a16="http://schemas.microsoft.com/office/drawing/2014/main" id="{82F023E8-79F1-47E3-A5C7-6BBB10904B89}"/>
              </a:ext>
            </a:extLst>
          </p:cNvPr>
          <p:cNvGrpSpPr/>
          <p:nvPr/>
        </p:nvGrpSpPr>
        <p:grpSpPr>
          <a:xfrm>
            <a:off x="3665333" y="5036485"/>
            <a:ext cx="468000" cy="252000"/>
            <a:chOff x="171449" y="1157572"/>
            <a:chExt cx="1440000" cy="720001"/>
          </a:xfrm>
        </p:grpSpPr>
        <p:pic>
          <p:nvPicPr>
            <p:cNvPr id="38" name="Picture 3" descr="d:\Documents and settings\Marc_Robisch\Desktop\Flaggen_gross\uz-lgflag.gif">
              <a:extLst>
                <a:ext uri="{FF2B5EF4-FFF2-40B4-BE49-F238E27FC236}">
                  <a16:creationId xmlns:a16="http://schemas.microsoft.com/office/drawing/2014/main" id="{B2CD9819-CDE0-40AF-B262-00915D9FBDFC}"/>
                </a:ext>
              </a:extLst>
            </p:cNvPr>
            <p:cNvPicPr>
              <a:picLocks noChangeAspect="1" noChangeArrowheads="1"/>
            </p:cNvPicPr>
            <p:nvPr/>
          </p:nvPicPr>
          <p:blipFill>
            <a:blip r:embed="rId28" cstate="print"/>
            <a:srcRect l="221" t="552" r="8284" b="331"/>
            <a:stretch>
              <a:fillRect/>
            </a:stretch>
          </p:blipFill>
          <p:spPr bwMode="auto">
            <a:xfrm>
              <a:off x="171449" y="1157573"/>
              <a:ext cx="1440000" cy="720000"/>
            </a:xfrm>
            <a:prstGeom prst="rect">
              <a:avLst/>
            </a:prstGeom>
            <a:noFill/>
          </p:spPr>
        </p:pic>
        <p:sp>
          <p:nvSpPr>
            <p:cNvPr id="39" name="Rectangle 38">
              <a:extLst>
                <a:ext uri="{FF2B5EF4-FFF2-40B4-BE49-F238E27FC236}">
                  <a16:creationId xmlns:a16="http://schemas.microsoft.com/office/drawing/2014/main" id="{962CBE6D-EA60-42DA-840C-2727C2754797}"/>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sp>
        <p:nvSpPr>
          <p:cNvPr id="40" name="Formatted_text">
            <a:extLst>
              <a:ext uri="{FF2B5EF4-FFF2-40B4-BE49-F238E27FC236}">
                <a16:creationId xmlns:a16="http://schemas.microsoft.com/office/drawing/2014/main" id="{549CFF55-7E19-4DB5-ACC7-1E8C2DDF0C55}"/>
              </a:ext>
            </a:extLst>
          </p:cNvPr>
          <p:cNvSpPr txBox="1">
            <a:spLocks/>
          </p:cNvSpPr>
          <p:nvPr/>
        </p:nvSpPr>
        <p:spPr>
          <a:xfrm>
            <a:off x="4455838" y="4551054"/>
            <a:ext cx="1363720" cy="415498"/>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Group 3: Coal </a:t>
            </a:r>
          </a:p>
          <a:p>
            <a:pPr>
              <a:lnSpc>
                <a:spcPct val="90000"/>
              </a:lnSpc>
              <a:buClr>
                <a:schemeClr val="tx1"/>
              </a:buClr>
              <a:buSzPct val="100000"/>
            </a:pPr>
            <a:r>
              <a:rPr lang="en-US" sz="1500">
                <a:latin typeface="+mn-lt"/>
                <a:sym typeface="+mn-lt"/>
              </a:rPr>
              <a:t>high share</a:t>
            </a:r>
            <a:endParaRPr lang="en-US" sz="1500" b="0">
              <a:latin typeface="+mn-lt"/>
              <a:sym typeface="+mn-lt"/>
            </a:endParaRPr>
          </a:p>
        </p:txBody>
      </p:sp>
      <p:grpSp>
        <p:nvGrpSpPr>
          <p:cNvPr id="41" name="Group 40">
            <a:extLst>
              <a:ext uri="{FF2B5EF4-FFF2-40B4-BE49-F238E27FC236}">
                <a16:creationId xmlns:a16="http://schemas.microsoft.com/office/drawing/2014/main" id="{850AE0F6-8DB8-400E-89C3-BCD100AF0179}"/>
              </a:ext>
            </a:extLst>
          </p:cNvPr>
          <p:cNvGrpSpPr/>
          <p:nvPr/>
        </p:nvGrpSpPr>
        <p:grpSpPr>
          <a:xfrm>
            <a:off x="5425154" y="5036485"/>
            <a:ext cx="468000" cy="252000"/>
            <a:chOff x="171449" y="1157572"/>
            <a:chExt cx="1440001" cy="720001"/>
          </a:xfrm>
        </p:grpSpPr>
        <p:pic>
          <p:nvPicPr>
            <p:cNvPr id="42" name="Picture 3" descr="d:\Documents and settings\Marc_Robisch\Desktop\Flaggen_gross\mg-lgflag.gif">
              <a:extLst>
                <a:ext uri="{FF2B5EF4-FFF2-40B4-BE49-F238E27FC236}">
                  <a16:creationId xmlns:a16="http://schemas.microsoft.com/office/drawing/2014/main" id="{590E31D4-D857-4A3E-AE59-4E0A2BB8BF28}"/>
                </a:ext>
              </a:extLst>
            </p:cNvPr>
            <p:cNvPicPr>
              <a:picLocks noChangeAspect="1" noChangeArrowheads="1"/>
            </p:cNvPicPr>
            <p:nvPr/>
          </p:nvPicPr>
          <p:blipFill>
            <a:blip r:embed="rId29" cstate="print"/>
            <a:srcRect l="466" t="386" r="302" b="276"/>
            <a:stretch>
              <a:fillRect/>
            </a:stretch>
          </p:blipFill>
          <p:spPr bwMode="auto">
            <a:xfrm>
              <a:off x="171450" y="1157573"/>
              <a:ext cx="1440000" cy="720000"/>
            </a:xfrm>
            <a:prstGeom prst="rect">
              <a:avLst/>
            </a:prstGeom>
            <a:noFill/>
          </p:spPr>
        </p:pic>
        <p:sp>
          <p:nvSpPr>
            <p:cNvPr id="43" name="Rectangle 42">
              <a:extLst>
                <a:ext uri="{FF2B5EF4-FFF2-40B4-BE49-F238E27FC236}">
                  <a16:creationId xmlns:a16="http://schemas.microsoft.com/office/drawing/2014/main" id="{0565303D-F72A-44F4-B263-C778E3E07020}"/>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grpSp>
        <p:nvGrpSpPr>
          <p:cNvPr id="44" name="Group 43">
            <a:extLst>
              <a:ext uri="{FF2B5EF4-FFF2-40B4-BE49-F238E27FC236}">
                <a16:creationId xmlns:a16="http://schemas.microsoft.com/office/drawing/2014/main" id="{B4002B92-1E83-4247-8F0A-35CA2B1A8D1E}"/>
              </a:ext>
            </a:extLst>
          </p:cNvPr>
          <p:cNvGrpSpPr/>
          <p:nvPr/>
        </p:nvGrpSpPr>
        <p:grpSpPr>
          <a:xfrm>
            <a:off x="4881683" y="5036860"/>
            <a:ext cx="468000" cy="252000"/>
            <a:chOff x="169817" y="1157572"/>
            <a:chExt cx="1441632" cy="720000"/>
          </a:xfrm>
        </p:grpSpPr>
        <p:grpSp>
          <p:nvGrpSpPr>
            <p:cNvPr id="45" name="Group 44">
              <a:extLst>
                <a:ext uri="{FF2B5EF4-FFF2-40B4-BE49-F238E27FC236}">
                  <a16:creationId xmlns:a16="http://schemas.microsoft.com/office/drawing/2014/main" id="{1885A6D9-D2D6-41DD-84A0-5438D1E91AD5}"/>
                </a:ext>
              </a:extLst>
            </p:cNvPr>
            <p:cNvGrpSpPr/>
            <p:nvPr>
              <p:custDataLst>
                <p:tags r:id="rId3"/>
              </p:custDataLst>
            </p:nvPr>
          </p:nvGrpSpPr>
          <p:grpSpPr>
            <a:xfrm>
              <a:off x="169817" y="1157572"/>
              <a:ext cx="1441632" cy="720000"/>
              <a:chOff x="169817" y="1157572"/>
              <a:chExt cx="1441632" cy="720000"/>
            </a:xfrm>
          </p:grpSpPr>
          <p:pic>
            <p:nvPicPr>
              <p:cNvPr id="47" name="Picture 3" descr="d:\Documents and settings\Marc_Robisch\Desktop\Flaggen_gross\ch-lgflag.gif">
                <a:extLst>
                  <a:ext uri="{FF2B5EF4-FFF2-40B4-BE49-F238E27FC236}">
                    <a16:creationId xmlns:a16="http://schemas.microsoft.com/office/drawing/2014/main" id="{645433E1-2A9B-423E-8654-661722253825}"/>
                  </a:ext>
                </a:extLst>
              </p:cNvPr>
              <p:cNvPicPr>
                <a:picLocks noChangeAspect="1" noChangeArrowheads="1"/>
              </p:cNvPicPr>
              <p:nvPr>
                <p:custDataLst>
                  <p:tags r:id="rId5"/>
                </p:custDataLst>
              </p:nvPr>
            </p:nvPicPr>
            <p:blipFill>
              <a:blip r:embed="rId30" cstate="print"/>
              <a:srcRect l="69928" t="773" r="912" b="4466"/>
              <a:stretch>
                <a:fillRect/>
              </a:stretch>
            </p:blipFill>
            <p:spPr bwMode="auto">
              <a:xfrm>
                <a:off x="169817" y="1157572"/>
                <a:ext cx="1441632" cy="720000"/>
              </a:xfrm>
              <a:prstGeom prst="rect">
                <a:avLst/>
              </a:prstGeom>
              <a:noFill/>
            </p:spPr>
          </p:pic>
          <p:pic>
            <p:nvPicPr>
              <p:cNvPr id="48" name="Picture 3" descr="d:\Documents and settings\Marc_Robisch\Desktop\Flaggen_gross\ch-lgflag.gif">
                <a:extLst>
                  <a:ext uri="{FF2B5EF4-FFF2-40B4-BE49-F238E27FC236}">
                    <a16:creationId xmlns:a16="http://schemas.microsoft.com/office/drawing/2014/main" id="{AA61EE2B-2203-4056-BBBD-45D989BBE9DF}"/>
                  </a:ext>
                </a:extLst>
              </p:cNvPr>
              <p:cNvPicPr>
                <a:picLocks noChangeAspect="1" noChangeArrowheads="1"/>
              </p:cNvPicPr>
              <p:nvPr>
                <p:custDataLst>
                  <p:tags r:id="rId6"/>
                </p:custDataLst>
              </p:nvPr>
            </p:nvPicPr>
            <p:blipFill>
              <a:blip r:embed="rId30" cstate="print"/>
              <a:srcRect l="766" t="773" r="10000" b="4466"/>
              <a:stretch>
                <a:fillRect/>
              </a:stretch>
            </p:blipFill>
            <p:spPr bwMode="auto">
              <a:xfrm>
                <a:off x="171449" y="1157572"/>
                <a:ext cx="1025980" cy="720000"/>
              </a:xfrm>
              <a:prstGeom prst="rect">
                <a:avLst/>
              </a:prstGeom>
              <a:noFill/>
            </p:spPr>
          </p:pic>
        </p:grpSp>
        <p:sp>
          <p:nvSpPr>
            <p:cNvPr id="46" name="Rectangle 45">
              <a:extLst>
                <a:ext uri="{FF2B5EF4-FFF2-40B4-BE49-F238E27FC236}">
                  <a16:creationId xmlns:a16="http://schemas.microsoft.com/office/drawing/2014/main" id="{2C6801CF-311C-46EE-9A48-E5E3669AEA60}"/>
                </a:ext>
              </a:extLst>
            </p:cNvPr>
            <p:cNvSpPr/>
            <p:nvPr>
              <p:custDataLst>
                <p:tags r:id="rId4"/>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sp>
        <p:nvSpPr>
          <p:cNvPr id="49" name="Oval 48">
            <a:extLst>
              <a:ext uri="{FF2B5EF4-FFF2-40B4-BE49-F238E27FC236}">
                <a16:creationId xmlns:a16="http://schemas.microsoft.com/office/drawing/2014/main" id="{DAB431F5-21E8-45B5-9466-9DAB5C2B4257}"/>
              </a:ext>
            </a:extLst>
          </p:cNvPr>
          <p:cNvSpPr>
            <a:spLocks/>
          </p:cNvSpPr>
          <p:nvPr/>
        </p:nvSpPr>
        <p:spPr>
          <a:xfrm>
            <a:off x="4920608" y="2182452"/>
            <a:ext cx="1800000" cy="1800000"/>
          </a:xfrm>
          <a:prstGeom prst="ellipse">
            <a:avLst/>
          </a:prstGeom>
          <a:solidFill>
            <a:schemeClr val="accent6">
              <a:lumMod val="50000"/>
              <a:alpha val="30000"/>
            </a:scheme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grpSp>
        <p:nvGrpSpPr>
          <p:cNvPr id="50" name="Group 49">
            <a:extLst>
              <a:ext uri="{FF2B5EF4-FFF2-40B4-BE49-F238E27FC236}">
                <a16:creationId xmlns:a16="http://schemas.microsoft.com/office/drawing/2014/main" id="{9C96570F-D3E3-49F8-8C26-0F47478F4742}"/>
              </a:ext>
            </a:extLst>
          </p:cNvPr>
          <p:cNvGrpSpPr/>
          <p:nvPr/>
        </p:nvGrpSpPr>
        <p:grpSpPr>
          <a:xfrm>
            <a:off x="5125348" y="3100113"/>
            <a:ext cx="468000" cy="252000"/>
            <a:chOff x="171449" y="1157572"/>
            <a:chExt cx="1440000" cy="720000"/>
          </a:xfrm>
        </p:grpSpPr>
        <p:pic>
          <p:nvPicPr>
            <p:cNvPr id="51" name="Picture 50" descr="d:\Documents and settings\Marc_Robisch\Desktop\Flaggen_gross\pk-lgflag.gif">
              <a:extLst>
                <a:ext uri="{FF2B5EF4-FFF2-40B4-BE49-F238E27FC236}">
                  <a16:creationId xmlns:a16="http://schemas.microsoft.com/office/drawing/2014/main" id="{286C4749-B83F-4744-805D-CF4051505E45}"/>
                </a:ext>
              </a:extLst>
            </p:cNvPr>
            <p:cNvPicPr>
              <a:picLocks noChangeAspect="1" noChangeArrowheads="1"/>
            </p:cNvPicPr>
            <p:nvPr/>
          </p:nvPicPr>
          <p:blipFill>
            <a:blip r:embed="rId31" cstate="print"/>
            <a:srcRect l="478" t="9628" b="9514"/>
            <a:stretch>
              <a:fillRect/>
            </a:stretch>
          </p:blipFill>
          <p:spPr bwMode="auto">
            <a:xfrm>
              <a:off x="171449" y="1157572"/>
              <a:ext cx="1440000" cy="720000"/>
            </a:xfrm>
            <a:prstGeom prst="rect">
              <a:avLst/>
            </a:prstGeom>
            <a:noFill/>
          </p:spPr>
        </p:pic>
        <p:sp>
          <p:nvSpPr>
            <p:cNvPr id="52" name="Rectangle 51">
              <a:extLst>
                <a:ext uri="{FF2B5EF4-FFF2-40B4-BE49-F238E27FC236}">
                  <a16:creationId xmlns:a16="http://schemas.microsoft.com/office/drawing/2014/main" id="{8D6289C4-BC5C-4382-90C5-58202EF0BF16}"/>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a:solidFill>
                  <a:schemeClr val="tx1"/>
                </a:solidFill>
                <a:cs typeface="Arial" pitchFamily="34" charset="0"/>
              </a:endParaRPr>
            </a:p>
          </p:txBody>
        </p:sp>
      </p:grpSp>
      <p:sp>
        <p:nvSpPr>
          <p:cNvPr id="53" name="Formatted_text">
            <a:extLst>
              <a:ext uri="{FF2B5EF4-FFF2-40B4-BE49-F238E27FC236}">
                <a16:creationId xmlns:a16="http://schemas.microsoft.com/office/drawing/2014/main" id="{9D918FC1-EF84-4CEE-B362-5CC96731F15C}"/>
              </a:ext>
            </a:extLst>
          </p:cNvPr>
          <p:cNvSpPr txBox="1">
            <a:spLocks/>
          </p:cNvSpPr>
          <p:nvPr/>
        </p:nvSpPr>
        <p:spPr>
          <a:xfrm>
            <a:off x="5126759" y="2649649"/>
            <a:ext cx="1363720" cy="415498"/>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a:latin typeface="+mn-lt"/>
                <a:cs typeface="+mn-cs"/>
                <a:sym typeface="+mn-lt"/>
              </a:rPr>
              <a:t>Group </a:t>
            </a:r>
            <a:r>
              <a:rPr lang="ru-RU" sz="1500" b="1">
                <a:latin typeface="+mn-lt"/>
                <a:cs typeface="+mn-cs"/>
                <a:sym typeface="+mn-lt"/>
              </a:rPr>
              <a:t>4</a:t>
            </a:r>
            <a:r>
              <a:rPr lang="en-US" sz="1500" b="1">
                <a:latin typeface="+mn-lt"/>
                <a:cs typeface="+mn-cs"/>
                <a:sym typeface="+mn-lt"/>
              </a:rPr>
              <a:t>: </a:t>
            </a:r>
            <a:r>
              <a:rPr lang="en-US" sz="1500">
                <a:latin typeface="+mn-lt"/>
                <a:cs typeface="+mn-cs"/>
                <a:sym typeface="+mn-lt"/>
              </a:rPr>
              <a:t>Biomass</a:t>
            </a:r>
          </a:p>
          <a:p>
            <a:pPr>
              <a:lnSpc>
                <a:spcPct val="90000"/>
              </a:lnSpc>
              <a:buClr>
                <a:schemeClr val="tx1"/>
              </a:buClr>
              <a:buSzPct val="100000"/>
            </a:pPr>
            <a:r>
              <a:rPr lang="en-US" sz="1500">
                <a:latin typeface="+mn-lt"/>
                <a:sym typeface="+mn-lt"/>
              </a:rPr>
              <a:t>high share</a:t>
            </a:r>
            <a:endParaRPr lang="en-US" sz="1500" b="0">
              <a:latin typeface="+mn-lt"/>
              <a:sym typeface="+mn-lt"/>
            </a:endParaRPr>
          </a:p>
        </p:txBody>
      </p:sp>
      <p:sp>
        <p:nvSpPr>
          <p:cNvPr id="54" name="Title 2">
            <a:extLst>
              <a:ext uri="{FF2B5EF4-FFF2-40B4-BE49-F238E27FC236}">
                <a16:creationId xmlns:a16="http://schemas.microsoft.com/office/drawing/2014/main" id="{AF577ABB-D1CD-4AB3-9405-CD85E0F775BD}"/>
              </a:ext>
            </a:extLst>
          </p:cNvPr>
          <p:cNvSpPr txBox="1">
            <a:spLocks/>
          </p:cNvSpPr>
          <p:nvPr/>
        </p:nvSpPr>
        <p:spPr>
          <a:xfrm>
            <a:off x="755928" y="798284"/>
            <a:ext cx="8535988" cy="74789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tabLst>
                <a:tab pos="1252538" algn="l"/>
              </a:tabLst>
              <a:defRPr lang="en-US" sz="2700" b="0" kern="1200" baseline="0">
                <a:solidFill>
                  <a:schemeClr val="tx1"/>
                </a:solidFill>
                <a:latin typeface="+mj-lt"/>
                <a:ea typeface="+mj-ea"/>
                <a:cs typeface="+mj-cs"/>
                <a:sym typeface="+mn-lt"/>
              </a:defRPr>
            </a:lvl1pPr>
          </a:lstStyle>
          <a:p>
            <a:pPr fontAlgn="auto">
              <a:spcAft>
                <a:spcPts val="0"/>
              </a:spcAft>
            </a:pPr>
            <a:r>
              <a:rPr lang="en-US" err="1"/>
              <a:t>CAREC</a:t>
            </a:r>
            <a:r>
              <a:rPr lang="en-US"/>
              <a:t> countries can be distinguished into several groups depending on the prevailing fuel and energy system background</a:t>
            </a:r>
          </a:p>
        </p:txBody>
      </p:sp>
      <p:sp>
        <p:nvSpPr>
          <p:cNvPr id="159" name="TextBox 158">
            <a:extLst>
              <a:ext uri="{FF2B5EF4-FFF2-40B4-BE49-F238E27FC236}">
                <a16:creationId xmlns:a16="http://schemas.microsoft.com/office/drawing/2014/main" id="{F6614CCD-5D5E-473F-827A-2B140618C068}"/>
              </a:ext>
            </a:extLst>
          </p:cNvPr>
          <p:cNvSpPr txBox="1"/>
          <p:nvPr/>
        </p:nvSpPr>
        <p:spPr>
          <a:xfrm>
            <a:off x="1081440" y="4758803"/>
            <a:ext cx="1651445" cy="415498"/>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GB" sz="1500"/>
              <a:t>Legacy of inherited infrastructure</a:t>
            </a:r>
          </a:p>
        </p:txBody>
      </p:sp>
      <p:sp>
        <p:nvSpPr>
          <p:cNvPr id="160" name="RbLeanShape Left U-Shape 152">
            <a:extLst>
              <a:ext uri="{FF2B5EF4-FFF2-40B4-BE49-F238E27FC236}">
                <a16:creationId xmlns:a16="http://schemas.microsoft.com/office/drawing/2014/main" id="{CB1DD127-CDBF-499C-B5C4-DFA868FFD46E}"/>
              </a:ext>
            </a:extLst>
          </p:cNvPr>
          <p:cNvSpPr>
            <a:spLocks/>
          </p:cNvSpPr>
          <p:nvPr/>
        </p:nvSpPr>
        <p:spPr>
          <a:xfrm flipH="1">
            <a:off x="6961080" y="2210449"/>
            <a:ext cx="2324444" cy="415955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rtlCol="0" anchor="ctr"/>
          <a:lstStyle/>
          <a:p>
            <a:pPr>
              <a:lnSpc>
                <a:spcPct val="90000"/>
              </a:lnSpc>
              <a:spcBef>
                <a:spcPts val="0"/>
              </a:spcBef>
            </a:pPr>
            <a:endParaRPr lang="en-GB"/>
          </a:p>
        </p:txBody>
      </p:sp>
      <p:sp>
        <p:nvSpPr>
          <p:cNvPr id="161" name="RBContent371">
            <a:extLst>
              <a:ext uri="{FF2B5EF4-FFF2-40B4-BE49-F238E27FC236}">
                <a16:creationId xmlns:a16="http://schemas.microsoft.com/office/drawing/2014/main" id="{74C8B0E9-3243-4E0B-BCFC-9371A5366998}"/>
              </a:ext>
            </a:extLst>
          </p:cNvPr>
          <p:cNvSpPr txBox="1">
            <a:spLocks/>
          </p:cNvSpPr>
          <p:nvPr/>
        </p:nvSpPr>
        <p:spPr>
          <a:xfrm>
            <a:off x="7157611" y="2419177"/>
            <a:ext cx="2116377" cy="3735382"/>
          </a:xfrm>
          <a:prstGeom prst="rect">
            <a:avLst/>
          </a:prstGeom>
          <a:noFill/>
          <a:ln w="9525">
            <a:noFill/>
          </a:ln>
        </p:spPr>
        <p:txBody>
          <a:bodyPr vert="horz" wrap="square" lIns="144000" tIns="0" rIns="0" bIns="0" rtlCol="0">
            <a:spAutoFit/>
          </a:bodyPr>
          <a:lstStyle/>
          <a:p>
            <a:pPr marL="142628" lvl="1" indent="-142628">
              <a:lnSpc>
                <a:spcPct val="90000"/>
              </a:lnSpc>
              <a:spcBef>
                <a:spcPts val="1200"/>
              </a:spcBef>
              <a:buClr>
                <a:srgbClr val="000000"/>
              </a:buClr>
              <a:buSzPct val="100000"/>
              <a:buFont typeface="Arial Narrow" panose="020B0606020202030204" pitchFamily="34" charset="0"/>
              <a:buChar char="&gt;"/>
            </a:pPr>
            <a:r>
              <a:rPr lang="en-GB" sz="1900">
                <a:sym typeface="+mn-lt"/>
              </a:rPr>
              <a:t>Various structures of energy supply </a:t>
            </a:r>
            <a:r>
              <a:rPr lang="en-GB" sz="1900" b="0">
                <a:sym typeface="+mn-lt"/>
              </a:rPr>
              <a:t>prevalent in </a:t>
            </a:r>
            <a:r>
              <a:rPr lang="en-GB" sz="1900" b="0" err="1">
                <a:sym typeface="+mn-lt"/>
              </a:rPr>
              <a:t>CAREC</a:t>
            </a:r>
            <a:r>
              <a:rPr lang="en-GB" sz="1900" b="0">
                <a:sym typeface="+mn-lt"/>
              </a:rPr>
              <a:t> region, determined largely by availability of natural resources</a:t>
            </a:r>
          </a:p>
          <a:p>
            <a:pPr marL="142628" lvl="1" indent="-142628">
              <a:lnSpc>
                <a:spcPct val="90000"/>
              </a:lnSpc>
              <a:spcBef>
                <a:spcPts val="400"/>
              </a:spcBef>
              <a:buClr>
                <a:srgbClr val="000000"/>
              </a:buClr>
              <a:buSzPct val="100000"/>
              <a:buFont typeface="Arial Narrow" panose="020B0606020202030204" pitchFamily="34" charset="0"/>
              <a:buChar char="&gt;"/>
            </a:pPr>
            <a:r>
              <a:rPr lang="en-GB" sz="1900" b="0">
                <a:sym typeface="+mn-lt"/>
              </a:rPr>
              <a:t>Such prevalent resources include: water resources (</a:t>
            </a:r>
            <a:r>
              <a:rPr lang="en-GB" sz="1900">
                <a:sym typeface="+mn-lt"/>
              </a:rPr>
              <a:t>hydropower</a:t>
            </a:r>
            <a:r>
              <a:rPr lang="en-GB" sz="1900" b="0">
                <a:sym typeface="+mn-lt"/>
              </a:rPr>
              <a:t>), </a:t>
            </a:r>
            <a:r>
              <a:rPr lang="en-GB" sz="1900">
                <a:sym typeface="+mn-lt"/>
              </a:rPr>
              <a:t>hydrocarbon</a:t>
            </a:r>
            <a:r>
              <a:rPr lang="en-GB" sz="1900" b="0">
                <a:sym typeface="+mn-lt"/>
              </a:rPr>
              <a:t> reserves (natural gas and oil), </a:t>
            </a:r>
            <a:r>
              <a:rPr lang="en-GB" sz="1900">
                <a:sym typeface="+mn-lt"/>
              </a:rPr>
              <a:t>coal </a:t>
            </a:r>
            <a:r>
              <a:rPr lang="en-GB" sz="1900" b="0">
                <a:sym typeface="+mn-lt"/>
              </a:rPr>
              <a:t>as well as </a:t>
            </a:r>
            <a:r>
              <a:rPr lang="en-GB" sz="1900">
                <a:sym typeface="+mn-lt"/>
              </a:rPr>
              <a:t>biomass</a:t>
            </a:r>
          </a:p>
        </p:txBody>
      </p:sp>
      <p:sp>
        <p:nvSpPr>
          <p:cNvPr id="162" name="Subtitle">
            <a:extLst>
              <a:ext uri="{FF2B5EF4-FFF2-40B4-BE49-F238E27FC236}">
                <a16:creationId xmlns:a16="http://schemas.microsoft.com/office/drawing/2014/main" id="{EAB5D789-4856-4858-8485-97CFD1AF6B1D}"/>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cs typeface="+mn-cs"/>
                <a:sym typeface="+mn-lt"/>
              </a:rPr>
              <a:t>Categorization of the </a:t>
            </a:r>
            <a:r>
              <a:rPr lang="en-US" sz="2100" b="0" err="1">
                <a:solidFill>
                  <a:schemeClr val="tx2"/>
                </a:solidFill>
                <a:latin typeface="+mn-lt"/>
                <a:cs typeface="+mn-cs"/>
                <a:sym typeface="+mn-lt"/>
              </a:rPr>
              <a:t>CAREC</a:t>
            </a:r>
            <a:r>
              <a:rPr lang="en-US" sz="2100" b="0">
                <a:solidFill>
                  <a:schemeClr val="tx2"/>
                </a:solidFill>
                <a:latin typeface="+mn-lt"/>
                <a:cs typeface="+mn-cs"/>
                <a:sym typeface="+mn-lt"/>
              </a:rPr>
              <a:t> member countries</a:t>
            </a:r>
          </a:p>
        </p:txBody>
      </p:sp>
      <p:grpSp>
        <p:nvGrpSpPr>
          <p:cNvPr id="56" name="Group 55">
            <a:extLst>
              <a:ext uri="{FF2B5EF4-FFF2-40B4-BE49-F238E27FC236}">
                <a16:creationId xmlns:a16="http://schemas.microsoft.com/office/drawing/2014/main" id="{3FB3DBBF-F5CF-4D71-82EF-B89EDB843EBF}"/>
              </a:ext>
            </a:extLst>
          </p:cNvPr>
          <p:cNvGrpSpPr/>
          <p:nvPr/>
        </p:nvGrpSpPr>
        <p:grpSpPr>
          <a:xfrm>
            <a:off x="6795643" y="2241511"/>
            <a:ext cx="361968" cy="426687"/>
            <a:chOff x="6508969" y="3773225"/>
            <a:chExt cx="231950" cy="273422"/>
          </a:xfrm>
          <a:solidFill>
            <a:schemeClr val="accent6"/>
          </a:solidFill>
        </p:grpSpPr>
        <p:sp>
          <p:nvSpPr>
            <p:cNvPr id="57" name="Chevron 16">
              <a:extLst>
                <a:ext uri="{FF2B5EF4-FFF2-40B4-BE49-F238E27FC236}">
                  <a16:creationId xmlns:a16="http://schemas.microsoft.com/office/drawing/2014/main" id="{CEC5B2CC-6BEB-4A86-BE2A-8EE18ECBA746}"/>
                </a:ext>
              </a:extLst>
            </p:cNvPr>
            <p:cNvSpPr/>
            <p:nvPr/>
          </p:nvSpPr>
          <p:spPr>
            <a:xfrm>
              <a:off x="6591476" y="3799040"/>
              <a:ext cx="149443" cy="221792"/>
            </a:xfrm>
            <a:prstGeom prst="chevron">
              <a:avLst/>
            </a:prstGeom>
            <a:grpFill/>
            <a:ln w="15875" cmpd="sng">
              <a:solidFill>
                <a:schemeClr val="lt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GB" sz="1900">
                <a:solidFill>
                  <a:srgbClr val="000000"/>
                </a:solidFill>
              </a:endParaRPr>
            </a:p>
          </p:txBody>
        </p:sp>
        <p:sp>
          <p:nvSpPr>
            <p:cNvPr id="58" name="Chevron 116">
              <a:extLst>
                <a:ext uri="{FF2B5EF4-FFF2-40B4-BE49-F238E27FC236}">
                  <a16:creationId xmlns:a16="http://schemas.microsoft.com/office/drawing/2014/main" id="{57831D49-B1D3-4E1B-8625-D61487A01EE5}"/>
                </a:ext>
              </a:extLst>
            </p:cNvPr>
            <p:cNvSpPr/>
            <p:nvPr/>
          </p:nvSpPr>
          <p:spPr>
            <a:xfrm>
              <a:off x="6508969" y="3773225"/>
              <a:ext cx="179276" cy="273422"/>
            </a:xfrm>
            <a:prstGeom prst="chevron">
              <a:avLst/>
            </a:prstGeom>
            <a:grpFill/>
            <a:ln w="15875" cmpd="sng">
              <a:solidFill>
                <a:schemeClr val="lt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GB" sz="1900">
                <a:solidFill>
                  <a:srgbClr val="000000"/>
                </a:solidFill>
              </a:endParaRPr>
            </a:p>
          </p:txBody>
        </p:sp>
      </p:grpSp>
      <p:sp>
        <p:nvSpPr>
          <p:cNvPr id="59" name="Source">
            <a:extLst>
              <a:ext uri="{FF2B5EF4-FFF2-40B4-BE49-F238E27FC236}">
                <a16:creationId xmlns:a16="http://schemas.microsoft.com/office/drawing/2014/main" id="{51E5133A-4D89-4D58-8EE5-B0C4387597A0}"/>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a:t>
            </a:r>
            <a:r>
              <a:rPr lang="en-US" sz="900" b="0">
                <a:latin typeface="+mn-lt"/>
                <a:sym typeface="+mn-lt"/>
              </a:rPr>
              <a:t>Roland Berger</a:t>
            </a:r>
            <a:endParaRPr lang="en-US" sz="900" b="0">
              <a:solidFill>
                <a:schemeClr val="tx1"/>
              </a:solidFill>
              <a:latin typeface="+mn-lt"/>
              <a:cs typeface="+mn-cs"/>
              <a:sym typeface="+mn-lt"/>
            </a:endParaRPr>
          </a:p>
        </p:txBody>
      </p:sp>
      <p:sp>
        <p:nvSpPr>
          <p:cNvPr id="60" name="RbNavigator">
            <a:extLst>
              <a:ext uri="{FF2B5EF4-FFF2-40B4-BE49-F238E27FC236}">
                <a16:creationId xmlns:a16="http://schemas.microsoft.com/office/drawing/2014/main" id="{4EC60D38-BB43-4693-8079-0302044646F3}"/>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61" name="RbSticker">
            <a:extLst>
              <a:ext uri="{FF2B5EF4-FFF2-40B4-BE49-F238E27FC236}">
                <a16:creationId xmlns:a16="http://schemas.microsoft.com/office/drawing/2014/main" id="{E750BDE3-CDEE-4471-AF9B-750EE48EA669}"/>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Tree>
    <p:extLst>
      <p:ext uri="{BB962C8B-B14F-4D97-AF65-F5344CB8AC3E}">
        <p14:creationId xmlns:p14="http://schemas.microsoft.com/office/powerpoint/2010/main" val="4289475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2138182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76" imgW="395" imgH="394" progId="TCLayout.ActiveDocument.1">
                  <p:embed/>
                </p:oleObj>
              </mc:Choice>
              <mc:Fallback>
                <p:oleObj name="think-cell Slide" r:id="rId76" imgW="395" imgH="394" progId="TCLayout.ActiveDocument.1">
                  <p:embed/>
                  <p:pic>
                    <p:nvPicPr>
                      <p:cNvPr id="41" name="Object 40" hidden="1">
                        <a:extLst>
                          <a:ext uri="{FF2B5EF4-FFF2-40B4-BE49-F238E27FC236}">
                            <a16:creationId xmlns:a16="http://schemas.microsoft.com/office/drawing/2014/main" id="{4D4DB5E0-355E-4771-A79A-6F14290C1935}"/>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p:txBody>
          <a:bodyPr vert="horz"/>
          <a:lstStyle/>
          <a:p>
            <a:r>
              <a:rPr lang="en-US"/>
              <a:t>Despite improvements in efficiency, energy demand is projected to grow until 2030 due to rapid economic and population growth </a:t>
            </a:r>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a:sym typeface="+mn-lt"/>
            </a:endParaRPr>
          </a:p>
        </p:txBody>
      </p:sp>
      <p:sp>
        <p:nvSpPr>
          <p:cNvPr id="485" name="Subtitle">
            <a:extLst>
              <a:ext uri="{FF2B5EF4-FFF2-40B4-BE49-F238E27FC236}">
                <a16:creationId xmlns:a16="http://schemas.microsoft.com/office/drawing/2014/main" id="{0DFACB5F-6A38-4203-9B3B-2DCA092E1776}"/>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err="1">
                <a:solidFill>
                  <a:schemeClr val="tx2"/>
                </a:solidFill>
                <a:latin typeface="+mn-lt"/>
                <a:cs typeface="+mn-cs"/>
                <a:sym typeface="+mn-lt"/>
              </a:rPr>
              <a:t>CAREC</a:t>
            </a:r>
            <a:r>
              <a:rPr lang="en-US" sz="2100" b="0">
                <a:solidFill>
                  <a:schemeClr val="tx2"/>
                </a:solidFill>
                <a:latin typeface="+mn-lt"/>
                <a:cs typeface="+mn-cs"/>
                <a:sym typeface="+mn-lt"/>
              </a:rPr>
              <a:t> level – Summary of Supply &amp; Demand Outlook, final energy demand ['000 toe]</a:t>
            </a:r>
          </a:p>
        </p:txBody>
      </p:sp>
      <p:sp>
        <p:nvSpPr>
          <p:cNvPr id="503" name="Source">
            <a:extLst>
              <a:ext uri="{FF2B5EF4-FFF2-40B4-BE49-F238E27FC236}">
                <a16:creationId xmlns:a16="http://schemas.microsoft.com/office/drawing/2014/main" id="{3C142F99-AA06-41B0-BCD1-794F0D523ED9}"/>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a:t>
            </a:r>
            <a:r>
              <a:rPr lang="en-US" sz="900" b="0">
                <a:latin typeface="+mn-lt"/>
                <a:sym typeface="+mn-lt"/>
              </a:rPr>
              <a:t>Roland Berger</a:t>
            </a:r>
            <a:endParaRPr lang="en-US" sz="900" b="0">
              <a:solidFill>
                <a:schemeClr val="tx1"/>
              </a:solidFill>
              <a:latin typeface="+mn-lt"/>
              <a:cs typeface="+mn-cs"/>
              <a:sym typeface="+mn-lt"/>
            </a:endParaRPr>
          </a:p>
        </p:txBody>
      </p:sp>
      <p:sp>
        <p:nvSpPr>
          <p:cNvPr id="230" name="Notes">
            <a:extLst>
              <a:ext uri="{FF2B5EF4-FFF2-40B4-BE49-F238E27FC236}">
                <a16:creationId xmlns:a16="http://schemas.microsoft.com/office/drawing/2014/main" id="{3C838535-0DAB-4A90-8591-3E8F88AE9FE8}"/>
              </a:ext>
            </a:extLst>
          </p:cNvPr>
          <p:cNvSpPr txBox="1"/>
          <p:nvPr/>
        </p:nvSpPr>
        <p:spPr>
          <a:xfrm>
            <a:off x="6975477" y="6417474"/>
            <a:ext cx="1768113"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a:solidFill>
                  <a:schemeClr val="tx1"/>
                </a:solidFill>
                <a:latin typeface="+mn-lt"/>
                <a:cs typeface="+mn-cs"/>
                <a:sym typeface="+mn-lt"/>
              </a:rPr>
              <a:t>1) Range due to scenario differences  </a:t>
            </a:r>
          </a:p>
        </p:txBody>
      </p:sp>
      <p:sp>
        <p:nvSpPr>
          <p:cNvPr id="241" name="Title44">
            <a:extLst>
              <a:ext uri="{FF2B5EF4-FFF2-40B4-BE49-F238E27FC236}">
                <a16:creationId xmlns:a16="http://schemas.microsoft.com/office/drawing/2014/main" id="{A9B430F8-8ED9-4B49-A61A-37105642EE63}"/>
              </a:ext>
            </a:extLst>
          </p:cNvPr>
          <p:cNvSpPr txBox="1"/>
          <p:nvPr/>
        </p:nvSpPr>
        <p:spPr>
          <a:xfrm>
            <a:off x="747185" y="4796291"/>
            <a:ext cx="1006806" cy="4317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noProof="0" err="1">
                <a:solidFill>
                  <a:srgbClr val="000000"/>
                </a:solidFill>
                <a:latin typeface="+mn-lt"/>
                <a:cs typeface="Arial Narrow" pitchFamily="34" charset="0"/>
              </a:rPr>
              <a:t>CAREC</a:t>
            </a:r>
            <a:r>
              <a:rPr lang="en-US" noProof="0">
                <a:solidFill>
                  <a:srgbClr val="000000"/>
                </a:solidFill>
                <a:latin typeface="+mn-lt"/>
                <a:cs typeface="Arial Narrow" pitchFamily="34" charset="0"/>
              </a:rPr>
              <a:t> </a:t>
            </a:r>
            <a:br>
              <a:rPr lang="en-US" noProof="0">
                <a:solidFill>
                  <a:srgbClr val="000000"/>
                </a:solidFill>
                <a:latin typeface="+mn-lt"/>
                <a:cs typeface="Arial Narrow" pitchFamily="34" charset="0"/>
              </a:rPr>
            </a:br>
            <a:r>
              <a:rPr lang="en-US" noProof="0">
                <a:solidFill>
                  <a:srgbClr val="000000"/>
                </a:solidFill>
                <a:latin typeface="+mn-lt"/>
                <a:cs typeface="Arial Narrow" pitchFamily="34" charset="0"/>
              </a:rPr>
              <a:t>(with PRC)</a:t>
            </a:r>
          </a:p>
        </p:txBody>
      </p:sp>
      <p:pic>
        <p:nvPicPr>
          <p:cNvPr id="244" name="Picture 4" descr="Результат пошуку зображень за запитом carec logo transparent">
            <a:extLst>
              <a:ext uri="{FF2B5EF4-FFF2-40B4-BE49-F238E27FC236}">
                <a16:creationId xmlns:a16="http://schemas.microsoft.com/office/drawing/2014/main" id="{E8ABFBB7-85F5-4B5D-8A31-C2094C2C49E1}"/>
              </a:ext>
            </a:extLst>
          </p:cNvPr>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723600" y="4396859"/>
            <a:ext cx="464508" cy="319995"/>
          </a:xfrm>
          <a:prstGeom prst="rect">
            <a:avLst/>
          </a:prstGeom>
          <a:noFill/>
          <a:extLst>
            <a:ext uri="{909E8E84-426E-40DD-AFC4-6F175D3DCCD1}">
              <a14:hiddenFill xmlns:a14="http://schemas.microsoft.com/office/drawing/2010/main">
                <a:solidFill>
                  <a:srgbClr val="FFFFFF"/>
                </a:solidFill>
              </a14:hiddenFill>
            </a:ext>
          </a:extLst>
        </p:spPr>
      </p:pic>
      <p:grpSp>
        <p:nvGrpSpPr>
          <p:cNvPr id="412" name="Group 287">
            <a:extLst>
              <a:ext uri="{FF2B5EF4-FFF2-40B4-BE49-F238E27FC236}">
                <a16:creationId xmlns:a16="http://schemas.microsoft.com/office/drawing/2014/main" id="{79312D2F-E62D-478B-88EB-5D9ABB0BA6A9}"/>
              </a:ext>
            </a:extLst>
          </p:cNvPr>
          <p:cNvGrpSpPr>
            <a:grpSpLocks noChangeAspect="1"/>
          </p:cNvGrpSpPr>
          <p:nvPr/>
        </p:nvGrpSpPr>
        <p:grpSpPr bwMode="auto">
          <a:xfrm>
            <a:off x="-1658937" y="5187950"/>
            <a:ext cx="115261" cy="141288"/>
            <a:chOff x="1217" y="1380"/>
            <a:chExt cx="217" cy="266"/>
          </a:xfrm>
          <a:solidFill>
            <a:schemeClr val="accent2"/>
          </a:solidFill>
        </p:grpSpPr>
        <p:sp>
          <p:nvSpPr>
            <p:cNvPr id="413" name="Freeform 289">
              <a:extLst>
                <a:ext uri="{FF2B5EF4-FFF2-40B4-BE49-F238E27FC236}">
                  <a16:creationId xmlns:a16="http://schemas.microsoft.com/office/drawing/2014/main" id="{9E881098-07D3-482B-906E-57B0EF64B7B6}"/>
                </a:ext>
              </a:extLst>
            </p:cNvPr>
            <p:cNvSpPr>
              <a:spLocks/>
            </p:cNvSpPr>
            <p:nvPr/>
          </p:nvSpPr>
          <p:spPr bwMode="auto">
            <a:xfrm>
              <a:off x="1322" y="1443"/>
              <a:ext cx="112" cy="164"/>
            </a:xfrm>
            <a:custGeom>
              <a:avLst/>
              <a:gdLst>
                <a:gd name="T0" fmla="*/ 889 w 1446"/>
                <a:gd name="T1" fmla="*/ 126 h 2133"/>
                <a:gd name="T2" fmla="*/ 1069 w 1446"/>
                <a:gd name="T3" fmla="*/ 331 h 2133"/>
                <a:gd name="T4" fmla="*/ 1083 w 1446"/>
                <a:gd name="T5" fmla="*/ 447 h 2133"/>
                <a:gd name="T6" fmla="*/ 1023 w 1446"/>
                <a:gd name="T7" fmla="*/ 579 h 2133"/>
                <a:gd name="T8" fmla="*/ 941 w 1446"/>
                <a:gd name="T9" fmla="*/ 735 h 2133"/>
                <a:gd name="T10" fmla="*/ 846 w 1446"/>
                <a:gd name="T11" fmla="*/ 879 h 2133"/>
                <a:gd name="T12" fmla="*/ 806 w 1446"/>
                <a:gd name="T13" fmla="*/ 950 h 2133"/>
                <a:gd name="T14" fmla="*/ 837 w 1446"/>
                <a:gd name="T15" fmla="*/ 996 h 2133"/>
                <a:gd name="T16" fmla="*/ 892 w 1446"/>
                <a:gd name="T17" fmla="*/ 994 h 2133"/>
                <a:gd name="T18" fmla="*/ 995 w 1446"/>
                <a:gd name="T19" fmla="*/ 862 h 2133"/>
                <a:gd name="T20" fmla="*/ 1101 w 1446"/>
                <a:gd name="T21" fmla="*/ 673 h 2133"/>
                <a:gd name="T22" fmla="*/ 1178 w 1446"/>
                <a:gd name="T23" fmla="*/ 507 h 2133"/>
                <a:gd name="T24" fmla="*/ 1295 w 1446"/>
                <a:gd name="T25" fmla="*/ 768 h 2133"/>
                <a:gd name="T26" fmla="*/ 1373 w 1446"/>
                <a:gd name="T27" fmla="*/ 1017 h 2133"/>
                <a:gd name="T28" fmla="*/ 1419 w 1446"/>
                <a:gd name="T29" fmla="*/ 1225 h 2133"/>
                <a:gd name="T30" fmla="*/ 1440 w 1446"/>
                <a:gd name="T31" fmla="*/ 1370 h 2133"/>
                <a:gd name="T32" fmla="*/ 1446 w 1446"/>
                <a:gd name="T33" fmla="*/ 1423 h 2133"/>
                <a:gd name="T34" fmla="*/ 1426 w 1446"/>
                <a:gd name="T35" fmla="*/ 1660 h 2133"/>
                <a:gd name="T36" fmla="*/ 1360 w 1446"/>
                <a:gd name="T37" fmla="*/ 1838 h 2133"/>
                <a:gd name="T38" fmla="*/ 1261 w 1446"/>
                <a:gd name="T39" fmla="*/ 1965 h 2133"/>
                <a:gd name="T40" fmla="*/ 1140 w 1446"/>
                <a:gd name="T41" fmla="*/ 2050 h 2133"/>
                <a:gd name="T42" fmla="*/ 1015 w 1446"/>
                <a:gd name="T43" fmla="*/ 2100 h 2133"/>
                <a:gd name="T44" fmla="*/ 898 w 1446"/>
                <a:gd name="T45" fmla="*/ 2124 h 2133"/>
                <a:gd name="T46" fmla="*/ 800 w 1446"/>
                <a:gd name="T47" fmla="*/ 2133 h 2133"/>
                <a:gd name="T48" fmla="*/ 738 w 1446"/>
                <a:gd name="T49" fmla="*/ 2132 h 2133"/>
                <a:gd name="T50" fmla="*/ 721 w 1446"/>
                <a:gd name="T51" fmla="*/ 2131 h 2133"/>
                <a:gd name="T52" fmla="*/ 681 w 1446"/>
                <a:gd name="T53" fmla="*/ 2133 h 2133"/>
                <a:gd name="T54" fmla="*/ 600 w 1446"/>
                <a:gd name="T55" fmla="*/ 2131 h 2133"/>
                <a:gd name="T56" fmla="*/ 492 w 1446"/>
                <a:gd name="T57" fmla="*/ 2115 h 2133"/>
                <a:gd name="T58" fmla="*/ 367 w 1446"/>
                <a:gd name="T59" fmla="*/ 2078 h 2133"/>
                <a:gd name="T60" fmla="*/ 244 w 1446"/>
                <a:gd name="T61" fmla="*/ 2012 h 2133"/>
                <a:gd name="T62" fmla="*/ 132 w 1446"/>
                <a:gd name="T63" fmla="*/ 1907 h 2133"/>
                <a:gd name="T64" fmla="*/ 47 w 1446"/>
                <a:gd name="T65" fmla="*/ 1756 h 2133"/>
                <a:gd name="T66" fmla="*/ 3 w 1446"/>
                <a:gd name="T67" fmla="*/ 1550 h 2133"/>
                <a:gd name="T68" fmla="*/ 1 w 1446"/>
                <a:gd name="T69" fmla="*/ 1410 h 2133"/>
                <a:gd name="T70" fmla="*/ 12 w 1446"/>
                <a:gd name="T71" fmla="*/ 1314 h 2133"/>
                <a:gd name="T72" fmla="*/ 43 w 1446"/>
                <a:gd name="T73" fmla="*/ 1145 h 2133"/>
                <a:gd name="T74" fmla="*/ 108 w 1446"/>
                <a:gd name="T75" fmla="*/ 1129 h 2133"/>
                <a:gd name="T76" fmla="*/ 217 w 1446"/>
                <a:gd name="T77" fmla="*/ 1322 h 2133"/>
                <a:gd name="T78" fmla="*/ 367 w 1446"/>
                <a:gd name="T79" fmla="*/ 1482 h 2133"/>
                <a:gd name="T80" fmla="*/ 426 w 1446"/>
                <a:gd name="T81" fmla="*/ 1487 h 2133"/>
                <a:gd name="T82" fmla="*/ 456 w 1446"/>
                <a:gd name="T83" fmla="*/ 1443 h 2133"/>
                <a:gd name="T84" fmla="*/ 434 w 1446"/>
                <a:gd name="T85" fmla="*/ 1392 h 2133"/>
                <a:gd name="T86" fmla="*/ 317 w 1446"/>
                <a:gd name="T87" fmla="*/ 1269 h 2133"/>
                <a:gd name="T88" fmla="*/ 225 w 1446"/>
                <a:gd name="T89" fmla="*/ 1115 h 2133"/>
                <a:gd name="T90" fmla="*/ 160 w 1446"/>
                <a:gd name="T91" fmla="*/ 968 h 2133"/>
                <a:gd name="T92" fmla="*/ 123 w 1446"/>
                <a:gd name="T93" fmla="*/ 870 h 2133"/>
                <a:gd name="T94" fmla="*/ 190 w 1446"/>
                <a:gd name="T95" fmla="*/ 670 h 2133"/>
                <a:gd name="T96" fmla="*/ 319 w 1446"/>
                <a:gd name="T97" fmla="*/ 418 h 2133"/>
                <a:gd name="T98" fmla="*/ 494 w 1446"/>
                <a:gd name="T99" fmla="*/ 188 h 2133"/>
                <a:gd name="T100" fmla="*/ 723 w 1446"/>
                <a:gd name="T101" fmla="*/ 0 h 2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6" h="2133">
                  <a:moveTo>
                    <a:pt x="723" y="0"/>
                  </a:moveTo>
                  <a:lnTo>
                    <a:pt x="781" y="39"/>
                  </a:lnTo>
                  <a:lnTo>
                    <a:pt x="837" y="81"/>
                  </a:lnTo>
                  <a:lnTo>
                    <a:pt x="889" y="126"/>
                  </a:lnTo>
                  <a:lnTo>
                    <a:pt x="938" y="174"/>
                  </a:lnTo>
                  <a:lnTo>
                    <a:pt x="985" y="224"/>
                  </a:lnTo>
                  <a:lnTo>
                    <a:pt x="1028" y="277"/>
                  </a:lnTo>
                  <a:lnTo>
                    <a:pt x="1069" y="331"/>
                  </a:lnTo>
                  <a:lnTo>
                    <a:pt x="1107" y="388"/>
                  </a:lnTo>
                  <a:lnTo>
                    <a:pt x="1102" y="403"/>
                  </a:lnTo>
                  <a:lnTo>
                    <a:pt x="1093" y="423"/>
                  </a:lnTo>
                  <a:lnTo>
                    <a:pt x="1083" y="447"/>
                  </a:lnTo>
                  <a:lnTo>
                    <a:pt x="1070" y="476"/>
                  </a:lnTo>
                  <a:lnTo>
                    <a:pt x="1056" y="507"/>
                  </a:lnTo>
                  <a:lnTo>
                    <a:pt x="1040" y="542"/>
                  </a:lnTo>
                  <a:lnTo>
                    <a:pt x="1023" y="579"/>
                  </a:lnTo>
                  <a:lnTo>
                    <a:pt x="1004" y="616"/>
                  </a:lnTo>
                  <a:lnTo>
                    <a:pt x="984" y="656"/>
                  </a:lnTo>
                  <a:lnTo>
                    <a:pt x="963" y="696"/>
                  </a:lnTo>
                  <a:lnTo>
                    <a:pt x="941" y="735"/>
                  </a:lnTo>
                  <a:lnTo>
                    <a:pt x="918" y="774"/>
                  </a:lnTo>
                  <a:lnTo>
                    <a:pt x="894" y="811"/>
                  </a:lnTo>
                  <a:lnTo>
                    <a:pt x="870" y="847"/>
                  </a:lnTo>
                  <a:lnTo>
                    <a:pt x="846" y="879"/>
                  </a:lnTo>
                  <a:lnTo>
                    <a:pt x="821" y="910"/>
                  </a:lnTo>
                  <a:lnTo>
                    <a:pt x="813" y="922"/>
                  </a:lnTo>
                  <a:lnTo>
                    <a:pt x="808" y="936"/>
                  </a:lnTo>
                  <a:lnTo>
                    <a:pt x="806" y="950"/>
                  </a:lnTo>
                  <a:lnTo>
                    <a:pt x="810" y="964"/>
                  </a:lnTo>
                  <a:lnTo>
                    <a:pt x="816" y="977"/>
                  </a:lnTo>
                  <a:lnTo>
                    <a:pt x="825" y="988"/>
                  </a:lnTo>
                  <a:lnTo>
                    <a:pt x="837" y="996"/>
                  </a:lnTo>
                  <a:lnTo>
                    <a:pt x="849" y="1001"/>
                  </a:lnTo>
                  <a:lnTo>
                    <a:pt x="863" y="1002"/>
                  </a:lnTo>
                  <a:lnTo>
                    <a:pt x="878" y="1000"/>
                  </a:lnTo>
                  <a:lnTo>
                    <a:pt x="892" y="994"/>
                  </a:lnTo>
                  <a:lnTo>
                    <a:pt x="904" y="984"/>
                  </a:lnTo>
                  <a:lnTo>
                    <a:pt x="935" y="946"/>
                  </a:lnTo>
                  <a:lnTo>
                    <a:pt x="966" y="906"/>
                  </a:lnTo>
                  <a:lnTo>
                    <a:pt x="995" y="862"/>
                  </a:lnTo>
                  <a:lnTo>
                    <a:pt x="1023" y="815"/>
                  </a:lnTo>
                  <a:lnTo>
                    <a:pt x="1050" y="768"/>
                  </a:lnTo>
                  <a:lnTo>
                    <a:pt x="1076" y="720"/>
                  </a:lnTo>
                  <a:lnTo>
                    <a:pt x="1101" y="673"/>
                  </a:lnTo>
                  <a:lnTo>
                    <a:pt x="1124" y="628"/>
                  </a:lnTo>
                  <a:lnTo>
                    <a:pt x="1143" y="584"/>
                  </a:lnTo>
                  <a:lnTo>
                    <a:pt x="1162" y="544"/>
                  </a:lnTo>
                  <a:lnTo>
                    <a:pt x="1178" y="507"/>
                  </a:lnTo>
                  <a:lnTo>
                    <a:pt x="1211" y="572"/>
                  </a:lnTo>
                  <a:lnTo>
                    <a:pt x="1242" y="638"/>
                  </a:lnTo>
                  <a:lnTo>
                    <a:pt x="1270" y="703"/>
                  </a:lnTo>
                  <a:lnTo>
                    <a:pt x="1295" y="768"/>
                  </a:lnTo>
                  <a:lnTo>
                    <a:pt x="1317" y="832"/>
                  </a:lnTo>
                  <a:lnTo>
                    <a:pt x="1338" y="895"/>
                  </a:lnTo>
                  <a:lnTo>
                    <a:pt x="1356" y="957"/>
                  </a:lnTo>
                  <a:lnTo>
                    <a:pt x="1373" y="1017"/>
                  </a:lnTo>
                  <a:lnTo>
                    <a:pt x="1386" y="1073"/>
                  </a:lnTo>
                  <a:lnTo>
                    <a:pt x="1399" y="1127"/>
                  </a:lnTo>
                  <a:lnTo>
                    <a:pt x="1409" y="1178"/>
                  </a:lnTo>
                  <a:lnTo>
                    <a:pt x="1419" y="1225"/>
                  </a:lnTo>
                  <a:lnTo>
                    <a:pt x="1426" y="1268"/>
                  </a:lnTo>
                  <a:lnTo>
                    <a:pt x="1431" y="1307"/>
                  </a:lnTo>
                  <a:lnTo>
                    <a:pt x="1436" y="1340"/>
                  </a:lnTo>
                  <a:lnTo>
                    <a:pt x="1440" y="1370"/>
                  </a:lnTo>
                  <a:lnTo>
                    <a:pt x="1443" y="1393"/>
                  </a:lnTo>
                  <a:lnTo>
                    <a:pt x="1445" y="1410"/>
                  </a:lnTo>
                  <a:lnTo>
                    <a:pt x="1446" y="1420"/>
                  </a:lnTo>
                  <a:lnTo>
                    <a:pt x="1446" y="1423"/>
                  </a:lnTo>
                  <a:lnTo>
                    <a:pt x="1446" y="1488"/>
                  </a:lnTo>
                  <a:lnTo>
                    <a:pt x="1443" y="1550"/>
                  </a:lnTo>
                  <a:lnTo>
                    <a:pt x="1436" y="1607"/>
                  </a:lnTo>
                  <a:lnTo>
                    <a:pt x="1426" y="1660"/>
                  </a:lnTo>
                  <a:lnTo>
                    <a:pt x="1413" y="1710"/>
                  </a:lnTo>
                  <a:lnTo>
                    <a:pt x="1398" y="1756"/>
                  </a:lnTo>
                  <a:lnTo>
                    <a:pt x="1380" y="1799"/>
                  </a:lnTo>
                  <a:lnTo>
                    <a:pt x="1360" y="1838"/>
                  </a:lnTo>
                  <a:lnTo>
                    <a:pt x="1337" y="1875"/>
                  </a:lnTo>
                  <a:lnTo>
                    <a:pt x="1313" y="1907"/>
                  </a:lnTo>
                  <a:lnTo>
                    <a:pt x="1288" y="1938"/>
                  </a:lnTo>
                  <a:lnTo>
                    <a:pt x="1261" y="1965"/>
                  </a:lnTo>
                  <a:lnTo>
                    <a:pt x="1231" y="1990"/>
                  </a:lnTo>
                  <a:lnTo>
                    <a:pt x="1202" y="2012"/>
                  </a:lnTo>
                  <a:lnTo>
                    <a:pt x="1172" y="2032"/>
                  </a:lnTo>
                  <a:lnTo>
                    <a:pt x="1140" y="2050"/>
                  </a:lnTo>
                  <a:lnTo>
                    <a:pt x="1109" y="2065"/>
                  </a:lnTo>
                  <a:lnTo>
                    <a:pt x="1077" y="2078"/>
                  </a:lnTo>
                  <a:lnTo>
                    <a:pt x="1046" y="2090"/>
                  </a:lnTo>
                  <a:lnTo>
                    <a:pt x="1015" y="2100"/>
                  </a:lnTo>
                  <a:lnTo>
                    <a:pt x="984" y="2109"/>
                  </a:lnTo>
                  <a:lnTo>
                    <a:pt x="954" y="2115"/>
                  </a:lnTo>
                  <a:lnTo>
                    <a:pt x="925" y="2120"/>
                  </a:lnTo>
                  <a:lnTo>
                    <a:pt x="898" y="2124"/>
                  </a:lnTo>
                  <a:lnTo>
                    <a:pt x="870" y="2127"/>
                  </a:lnTo>
                  <a:lnTo>
                    <a:pt x="845" y="2131"/>
                  </a:lnTo>
                  <a:lnTo>
                    <a:pt x="822" y="2132"/>
                  </a:lnTo>
                  <a:lnTo>
                    <a:pt x="800" y="2133"/>
                  </a:lnTo>
                  <a:lnTo>
                    <a:pt x="781" y="2133"/>
                  </a:lnTo>
                  <a:lnTo>
                    <a:pt x="764" y="2133"/>
                  </a:lnTo>
                  <a:lnTo>
                    <a:pt x="750" y="2132"/>
                  </a:lnTo>
                  <a:lnTo>
                    <a:pt x="738" y="2132"/>
                  </a:lnTo>
                  <a:lnTo>
                    <a:pt x="730" y="2131"/>
                  </a:lnTo>
                  <a:lnTo>
                    <a:pt x="725" y="2131"/>
                  </a:lnTo>
                  <a:lnTo>
                    <a:pt x="723" y="2131"/>
                  </a:lnTo>
                  <a:lnTo>
                    <a:pt x="721" y="2131"/>
                  </a:lnTo>
                  <a:lnTo>
                    <a:pt x="715" y="2131"/>
                  </a:lnTo>
                  <a:lnTo>
                    <a:pt x="707" y="2132"/>
                  </a:lnTo>
                  <a:lnTo>
                    <a:pt x="696" y="2132"/>
                  </a:lnTo>
                  <a:lnTo>
                    <a:pt x="681" y="2133"/>
                  </a:lnTo>
                  <a:lnTo>
                    <a:pt x="664" y="2133"/>
                  </a:lnTo>
                  <a:lnTo>
                    <a:pt x="645" y="2133"/>
                  </a:lnTo>
                  <a:lnTo>
                    <a:pt x="623" y="2132"/>
                  </a:lnTo>
                  <a:lnTo>
                    <a:pt x="600" y="2131"/>
                  </a:lnTo>
                  <a:lnTo>
                    <a:pt x="575" y="2127"/>
                  </a:lnTo>
                  <a:lnTo>
                    <a:pt x="548" y="2124"/>
                  </a:lnTo>
                  <a:lnTo>
                    <a:pt x="520" y="2120"/>
                  </a:lnTo>
                  <a:lnTo>
                    <a:pt x="492" y="2115"/>
                  </a:lnTo>
                  <a:lnTo>
                    <a:pt x="461" y="2109"/>
                  </a:lnTo>
                  <a:lnTo>
                    <a:pt x="430" y="2100"/>
                  </a:lnTo>
                  <a:lnTo>
                    <a:pt x="399" y="2090"/>
                  </a:lnTo>
                  <a:lnTo>
                    <a:pt x="367" y="2078"/>
                  </a:lnTo>
                  <a:lnTo>
                    <a:pt x="336" y="2065"/>
                  </a:lnTo>
                  <a:lnTo>
                    <a:pt x="304" y="2050"/>
                  </a:lnTo>
                  <a:lnTo>
                    <a:pt x="274" y="2032"/>
                  </a:lnTo>
                  <a:lnTo>
                    <a:pt x="244" y="2012"/>
                  </a:lnTo>
                  <a:lnTo>
                    <a:pt x="214" y="1990"/>
                  </a:lnTo>
                  <a:lnTo>
                    <a:pt x="185" y="1965"/>
                  </a:lnTo>
                  <a:lnTo>
                    <a:pt x="158" y="1938"/>
                  </a:lnTo>
                  <a:lnTo>
                    <a:pt x="132" y="1907"/>
                  </a:lnTo>
                  <a:lnTo>
                    <a:pt x="108" y="1875"/>
                  </a:lnTo>
                  <a:lnTo>
                    <a:pt x="86" y="1838"/>
                  </a:lnTo>
                  <a:lnTo>
                    <a:pt x="66" y="1799"/>
                  </a:lnTo>
                  <a:lnTo>
                    <a:pt x="47" y="1756"/>
                  </a:lnTo>
                  <a:lnTo>
                    <a:pt x="32" y="1710"/>
                  </a:lnTo>
                  <a:lnTo>
                    <a:pt x="20" y="1660"/>
                  </a:lnTo>
                  <a:lnTo>
                    <a:pt x="9" y="1607"/>
                  </a:lnTo>
                  <a:lnTo>
                    <a:pt x="3" y="1550"/>
                  </a:lnTo>
                  <a:lnTo>
                    <a:pt x="0" y="1488"/>
                  </a:lnTo>
                  <a:lnTo>
                    <a:pt x="0" y="1423"/>
                  </a:lnTo>
                  <a:lnTo>
                    <a:pt x="0" y="1420"/>
                  </a:lnTo>
                  <a:lnTo>
                    <a:pt x="1" y="1410"/>
                  </a:lnTo>
                  <a:lnTo>
                    <a:pt x="3" y="1394"/>
                  </a:lnTo>
                  <a:lnTo>
                    <a:pt x="5" y="1373"/>
                  </a:lnTo>
                  <a:lnTo>
                    <a:pt x="8" y="1346"/>
                  </a:lnTo>
                  <a:lnTo>
                    <a:pt x="12" y="1314"/>
                  </a:lnTo>
                  <a:lnTo>
                    <a:pt x="19" y="1278"/>
                  </a:lnTo>
                  <a:lnTo>
                    <a:pt x="25" y="1237"/>
                  </a:lnTo>
                  <a:lnTo>
                    <a:pt x="33" y="1192"/>
                  </a:lnTo>
                  <a:lnTo>
                    <a:pt x="43" y="1145"/>
                  </a:lnTo>
                  <a:lnTo>
                    <a:pt x="54" y="1093"/>
                  </a:lnTo>
                  <a:lnTo>
                    <a:pt x="68" y="1039"/>
                  </a:lnTo>
                  <a:lnTo>
                    <a:pt x="86" y="1083"/>
                  </a:lnTo>
                  <a:lnTo>
                    <a:pt x="108" y="1129"/>
                  </a:lnTo>
                  <a:lnTo>
                    <a:pt x="132" y="1177"/>
                  </a:lnTo>
                  <a:lnTo>
                    <a:pt x="158" y="1225"/>
                  </a:lnTo>
                  <a:lnTo>
                    <a:pt x="186" y="1274"/>
                  </a:lnTo>
                  <a:lnTo>
                    <a:pt x="217" y="1322"/>
                  </a:lnTo>
                  <a:lnTo>
                    <a:pt x="252" y="1367"/>
                  </a:lnTo>
                  <a:lnTo>
                    <a:pt x="287" y="1410"/>
                  </a:lnTo>
                  <a:lnTo>
                    <a:pt x="326" y="1448"/>
                  </a:lnTo>
                  <a:lnTo>
                    <a:pt x="367" y="1482"/>
                  </a:lnTo>
                  <a:lnTo>
                    <a:pt x="384" y="1490"/>
                  </a:lnTo>
                  <a:lnTo>
                    <a:pt x="400" y="1493"/>
                  </a:lnTo>
                  <a:lnTo>
                    <a:pt x="413" y="1491"/>
                  </a:lnTo>
                  <a:lnTo>
                    <a:pt x="426" y="1487"/>
                  </a:lnTo>
                  <a:lnTo>
                    <a:pt x="436" y="1480"/>
                  </a:lnTo>
                  <a:lnTo>
                    <a:pt x="445" y="1470"/>
                  </a:lnTo>
                  <a:lnTo>
                    <a:pt x="453" y="1457"/>
                  </a:lnTo>
                  <a:lnTo>
                    <a:pt x="456" y="1443"/>
                  </a:lnTo>
                  <a:lnTo>
                    <a:pt x="456" y="1429"/>
                  </a:lnTo>
                  <a:lnTo>
                    <a:pt x="452" y="1415"/>
                  </a:lnTo>
                  <a:lnTo>
                    <a:pt x="444" y="1402"/>
                  </a:lnTo>
                  <a:lnTo>
                    <a:pt x="434" y="1392"/>
                  </a:lnTo>
                  <a:lnTo>
                    <a:pt x="403" y="1367"/>
                  </a:lnTo>
                  <a:lnTo>
                    <a:pt x="372" y="1337"/>
                  </a:lnTo>
                  <a:lnTo>
                    <a:pt x="344" y="1304"/>
                  </a:lnTo>
                  <a:lnTo>
                    <a:pt x="317" y="1269"/>
                  </a:lnTo>
                  <a:lnTo>
                    <a:pt x="292" y="1232"/>
                  </a:lnTo>
                  <a:lnTo>
                    <a:pt x="268" y="1194"/>
                  </a:lnTo>
                  <a:lnTo>
                    <a:pt x="246" y="1154"/>
                  </a:lnTo>
                  <a:lnTo>
                    <a:pt x="225" y="1115"/>
                  </a:lnTo>
                  <a:lnTo>
                    <a:pt x="206" y="1076"/>
                  </a:lnTo>
                  <a:lnTo>
                    <a:pt x="188" y="1039"/>
                  </a:lnTo>
                  <a:lnTo>
                    <a:pt x="173" y="1003"/>
                  </a:lnTo>
                  <a:lnTo>
                    <a:pt x="160" y="968"/>
                  </a:lnTo>
                  <a:lnTo>
                    <a:pt x="147" y="938"/>
                  </a:lnTo>
                  <a:lnTo>
                    <a:pt x="138" y="911"/>
                  </a:lnTo>
                  <a:lnTo>
                    <a:pt x="129" y="888"/>
                  </a:lnTo>
                  <a:lnTo>
                    <a:pt x="123" y="870"/>
                  </a:lnTo>
                  <a:lnTo>
                    <a:pt x="119" y="857"/>
                  </a:lnTo>
                  <a:lnTo>
                    <a:pt x="141" y="796"/>
                  </a:lnTo>
                  <a:lnTo>
                    <a:pt x="164" y="733"/>
                  </a:lnTo>
                  <a:lnTo>
                    <a:pt x="190" y="670"/>
                  </a:lnTo>
                  <a:lnTo>
                    <a:pt x="217" y="606"/>
                  </a:lnTo>
                  <a:lnTo>
                    <a:pt x="249" y="543"/>
                  </a:lnTo>
                  <a:lnTo>
                    <a:pt x="282" y="480"/>
                  </a:lnTo>
                  <a:lnTo>
                    <a:pt x="319" y="418"/>
                  </a:lnTo>
                  <a:lnTo>
                    <a:pt x="358" y="359"/>
                  </a:lnTo>
                  <a:lnTo>
                    <a:pt x="399" y="299"/>
                  </a:lnTo>
                  <a:lnTo>
                    <a:pt x="445" y="242"/>
                  </a:lnTo>
                  <a:lnTo>
                    <a:pt x="494" y="188"/>
                  </a:lnTo>
                  <a:lnTo>
                    <a:pt x="546" y="136"/>
                  </a:lnTo>
                  <a:lnTo>
                    <a:pt x="601" y="87"/>
                  </a:lnTo>
                  <a:lnTo>
                    <a:pt x="660" y="42"/>
                  </a:lnTo>
                  <a:lnTo>
                    <a:pt x="7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14" name="Freeform 290">
              <a:extLst>
                <a:ext uri="{FF2B5EF4-FFF2-40B4-BE49-F238E27FC236}">
                  <a16:creationId xmlns:a16="http://schemas.microsoft.com/office/drawing/2014/main" id="{AA6E03D6-453B-4F3D-B0E3-F62F468E30CD}"/>
                </a:ext>
              </a:extLst>
            </p:cNvPr>
            <p:cNvSpPr>
              <a:spLocks/>
            </p:cNvSpPr>
            <p:nvPr/>
          </p:nvSpPr>
          <p:spPr bwMode="auto">
            <a:xfrm>
              <a:off x="1217" y="1380"/>
              <a:ext cx="131" cy="215"/>
            </a:xfrm>
            <a:custGeom>
              <a:avLst/>
              <a:gdLst>
                <a:gd name="T0" fmla="*/ 1151 w 1700"/>
                <a:gd name="T1" fmla="*/ 154 h 2789"/>
                <a:gd name="T2" fmla="*/ 1376 w 1700"/>
                <a:gd name="T3" fmla="*/ 401 h 2789"/>
                <a:gd name="T4" fmla="*/ 1449 w 1700"/>
                <a:gd name="T5" fmla="*/ 599 h 2789"/>
                <a:gd name="T6" fmla="*/ 1385 w 1700"/>
                <a:gd name="T7" fmla="*/ 771 h 2789"/>
                <a:gd name="T8" fmla="*/ 1292 w 1700"/>
                <a:gd name="T9" fmla="*/ 968 h 2789"/>
                <a:gd name="T10" fmla="*/ 1171 w 1700"/>
                <a:gd name="T11" fmla="*/ 1144 h 2789"/>
                <a:gd name="T12" fmla="*/ 1159 w 1700"/>
                <a:gd name="T13" fmla="*/ 1199 h 2789"/>
                <a:gd name="T14" fmla="*/ 1199 w 1700"/>
                <a:gd name="T15" fmla="*/ 1237 h 2789"/>
                <a:gd name="T16" fmla="*/ 1255 w 1700"/>
                <a:gd name="T17" fmla="*/ 1219 h 2789"/>
                <a:gd name="T18" fmla="*/ 1400 w 1700"/>
                <a:gd name="T19" fmla="*/ 1003 h 2789"/>
                <a:gd name="T20" fmla="*/ 1507 w 1700"/>
                <a:gd name="T21" fmla="*/ 770 h 2789"/>
                <a:gd name="T22" fmla="*/ 1629 w 1700"/>
                <a:gd name="T23" fmla="*/ 845 h 2789"/>
                <a:gd name="T24" fmla="*/ 1607 w 1700"/>
                <a:gd name="T25" fmla="*/ 1152 h 2789"/>
                <a:gd name="T26" fmla="*/ 1463 w 1700"/>
                <a:gd name="T27" fmla="*/ 1426 h 2789"/>
                <a:gd name="T28" fmla="*/ 1364 w 1700"/>
                <a:gd name="T29" fmla="*/ 1698 h 2789"/>
                <a:gd name="T30" fmla="*/ 1304 w 1700"/>
                <a:gd name="T31" fmla="*/ 1939 h 2789"/>
                <a:gd name="T32" fmla="*/ 1271 w 1700"/>
                <a:gd name="T33" fmla="*/ 2121 h 2789"/>
                <a:gd name="T34" fmla="*/ 1260 w 1700"/>
                <a:gd name="T35" fmla="*/ 2220 h 2789"/>
                <a:gd name="T36" fmla="*/ 1263 w 1700"/>
                <a:gd name="T37" fmla="*/ 2376 h 2789"/>
                <a:gd name="T38" fmla="*/ 1321 w 1700"/>
                <a:gd name="T39" fmla="*/ 2625 h 2789"/>
                <a:gd name="T40" fmla="*/ 1274 w 1700"/>
                <a:gd name="T41" fmla="*/ 2759 h 2789"/>
                <a:gd name="T42" fmla="*/ 1097 w 1700"/>
                <a:gd name="T43" fmla="*/ 2785 h 2789"/>
                <a:gd name="T44" fmla="*/ 977 w 1700"/>
                <a:gd name="T45" fmla="*/ 2787 h 2789"/>
                <a:gd name="T46" fmla="*/ 944 w 1700"/>
                <a:gd name="T47" fmla="*/ 2785 h 2789"/>
                <a:gd name="T48" fmla="*/ 904 w 1700"/>
                <a:gd name="T49" fmla="*/ 2789 h 2789"/>
                <a:gd name="T50" fmla="*/ 820 w 1700"/>
                <a:gd name="T51" fmla="*/ 2787 h 2789"/>
                <a:gd name="T52" fmla="*/ 704 w 1700"/>
                <a:gd name="T53" fmla="*/ 2776 h 2789"/>
                <a:gd name="T54" fmla="*/ 568 w 1700"/>
                <a:gd name="T55" fmla="*/ 2748 h 2789"/>
                <a:gd name="T56" fmla="*/ 425 w 1700"/>
                <a:gd name="T57" fmla="*/ 2693 h 2789"/>
                <a:gd name="T58" fmla="*/ 286 w 1700"/>
                <a:gd name="T59" fmla="*/ 2606 h 2789"/>
                <a:gd name="T60" fmla="*/ 161 w 1700"/>
                <a:gd name="T61" fmla="*/ 2478 h 2789"/>
                <a:gd name="T62" fmla="*/ 66 w 1700"/>
                <a:gd name="T63" fmla="*/ 2303 h 2789"/>
                <a:gd name="T64" fmla="*/ 9 w 1700"/>
                <a:gd name="T65" fmla="*/ 2074 h 2789"/>
                <a:gd name="T66" fmla="*/ 1 w 1700"/>
                <a:gd name="T67" fmla="*/ 1858 h 2789"/>
                <a:gd name="T68" fmla="*/ 9 w 1700"/>
                <a:gd name="T69" fmla="*/ 1781 h 2789"/>
                <a:gd name="T70" fmla="*/ 33 w 1700"/>
                <a:gd name="T71" fmla="*/ 1621 h 2789"/>
                <a:gd name="T72" fmla="*/ 80 w 1700"/>
                <a:gd name="T73" fmla="*/ 1398 h 2789"/>
                <a:gd name="T74" fmla="*/ 160 w 1700"/>
                <a:gd name="T75" fmla="*/ 1601 h 2789"/>
                <a:gd name="T76" fmla="*/ 284 w 1700"/>
                <a:gd name="T77" fmla="*/ 1801 h 2789"/>
                <a:gd name="T78" fmla="*/ 424 w 1700"/>
                <a:gd name="T79" fmla="*/ 1932 h 2789"/>
                <a:gd name="T80" fmla="*/ 477 w 1700"/>
                <a:gd name="T81" fmla="*/ 1922 h 2789"/>
                <a:gd name="T82" fmla="*/ 496 w 1700"/>
                <a:gd name="T83" fmla="*/ 1871 h 2789"/>
                <a:gd name="T84" fmla="*/ 435 w 1700"/>
                <a:gd name="T85" fmla="*/ 1801 h 2789"/>
                <a:gd name="T86" fmla="*/ 306 w 1700"/>
                <a:gd name="T87" fmla="*/ 1637 h 2789"/>
                <a:gd name="T88" fmla="*/ 216 w 1700"/>
                <a:gd name="T89" fmla="*/ 1447 h 2789"/>
                <a:gd name="T90" fmla="*/ 159 w 1700"/>
                <a:gd name="T91" fmla="*/ 1275 h 2789"/>
                <a:gd name="T92" fmla="*/ 159 w 1700"/>
                <a:gd name="T93" fmla="*/ 1115 h 2789"/>
                <a:gd name="T94" fmla="*/ 270 w 1700"/>
                <a:gd name="T95" fmla="*/ 827 h 2789"/>
                <a:gd name="T96" fmla="*/ 422 w 1700"/>
                <a:gd name="T97" fmla="*/ 540 h 2789"/>
                <a:gd name="T98" fmla="*/ 622 w 1700"/>
                <a:gd name="T99" fmla="*/ 273 h 2789"/>
                <a:gd name="T100" fmla="*/ 874 w 1700"/>
                <a:gd name="T101" fmla="*/ 47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0" h="2789">
                  <a:moveTo>
                    <a:pt x="946" y="0"/>
                  </a:moveTo>
                  <a:lnTo>
                    <a:pt x="1018" y="47"/>
                  </a:lnTo>
                  <a:lnTo>
                    <a:pt x="1086" y="99"/>
                  </a:lnTo>
                  <a:lnTo>
                    <a:pt x="1151" y="154"/>
                  </a:lnTo>
                  <a:lnTo>
                    <a:pt x="1213" y="212"/>
                  </a:lnTo>
                  <a:lnTo>
                    <a:pt x="1270" y="273"/>
                  </a:lnTo>
                  <a:lnTo>
                    <a:pt x="1325" y="336"/>
                  </a:lnTo>
                  <a:lnTo>
                    <a:pt x="1376" y="401"/>
                  </a:lnTo>
                  <a:lnTo>
                    <a:pt x="1424" y="470"/>
                  </a:lnTo>
                  <a:lnTo>
                    <a:pt x="1469" y="539"/>
                  </a:lnTo>
                  <a:lnTo>
                    <a:pt x="1461" y="567"/>
                  </a:lnTo>
                  <a:lnTo>
                    <a:pt x="1449" y="599"/>
                  </a:lnTo>
                  <a:lnTo>
                    <a:pt x="1437" y="638"/>
                  </a:lnTo>
                  <a:lnTo>
                    <a:pt x="1422" y="679"/>
                  </a:lnTo>
                  <a:lnTo>
                    <a:pt x="1404" y="724"/>
                  </a:lnTo>
                  <a:lnTo>
                    <a:pt x="1385" y="771"/>
                  </a:lnTo>
                  <a:lnTo>
                    <a:pt x="1366" y="820"/>
                  </a:lnTo>
                  <a:lnTo>
                    <a:pt x="1342" y="869"/>
                  </a:lnTo>
                  <a:lnTo>
                    <a:pt x="1318" y="919"/>
                  </a:lnTo>
                  <a:lnTo>
                    <a:pt x="1292" y="968"/>
                  </a:lnTo>
                  <a:lnTo>
                    <a:pt x="1264" y="1017"/>
                  </a:lnTo>
                  <a:lnTo>
                    <a:pt x="1235" y="1062"/>
                  </a:lnTo>
                  <a:lnTo>
                    <a:pt x="1203" y="1106"/>
                  </a:lnTo>
                  <a:lnTo>
                    <a:pt x="1171" y="1144"/>
                  </a:lnTo>
                  <a:lnTo>
                    <a:pt x="1163" y="1157"/>
                  </a:lnTo>
                  <a:lnTo>
                    <a:pt x="1158" y="1171"/>
                  </a:lnTo>
                  <a:lnTo>
                    <a:pt x="1157" y="1185"/>
                  </a:lnTo>
                  <a:lnTo>
                    <a:pt x="1159" y="1199"/>
                  </a:lnTo>
                  <a:lnTo>
                    <a:pt x="1166" y="1212"/>
                  </a:lnTo>
                  <a:lnTo>
                    <a:pt x="1175" y="1224"/>
                  </a:lnTo>
                  <a:lnTo>
                    <a:pt x="1187" y="1231"/>
                  </a:lnTo>
                  <a:lnTo>
                    <a:pt x="1199" y="1237"/>
                  </a:lnTo>
                  <a:lnTo>
                    <a:pt x="1213" y="1238"/>
                  </a:lnTo>
                  <a:lnTo>
                    <a:pt x="1227" y="1236"/>
                  </a:lnTo>
                  <a:lnTo>
                    <a:pt x="1242" y="1229"/>
                  </a:lnTo>
                  <a:lnTo>
                    <a:pt x="1255" y="1219"/>
                  </a:lnTo>
                  <a:lnTo>
                    <a:pt x="1294" y="1171"/>
                  </a:lnTo>
                  <a:lnTo>
                    <a:pt x="1332" y="1117"/>
                  </a:lnTo>
                  <a:lnTo>
                    <a:pt x="1368" y="1061"/>
                  </a:lnTo>
                  <a:lnTo>
                    <a:pt x="1400" y="1003"/>
                  </a:lnTo>
                  <a:lnTo>
                    <a:pt x="1430" y="943"/>
                  </a:lnTo>
                  <a:lnTo>
                    <a:pt x="1459" y="885"/>
                  </a:lnTo>
                  <a:lnTo>
                    <a:pt x="1484" y="826"/>
                  </a:lnTo>
                  <a:lnTo>
                    <a:pt x="1507" y="770"/>
                  </a:lnTo>
                  <a:lnTo>
                    <a:pt x="1527" y="718"/>
                  </a:lnTo>
                  <a:lnTo>
                    <a:pt x="1544" y="669"/>
                  </a:lnTo>
                  <a:lnTo>
                    <a:pt x="1588" y="757"/>
                  </a:lnTo>
                  <a:lnTo>
                    <a:pt x="1629" y="845"/>
                  </a:lnTo>
                  <a:lnTo>
                    <a:pt x="1667" y="934"/>
                  </a:lnTo>
                  <a:lnTo>
                    <a:pt x="1700" y="1022"/>
                  </a:lnTo>
                  <a:lnTo>
                    <a:pt x="1652" y="1086"/>
                  </a:lnTo>
                  <a:lnTo>
                    <a:pt x="1607" y="1152"/>
                  </a:lnTo>
                  <a:lnTo>
                    <a:pt x="1566" y="1220"/>
                  </a:lnTo>
                  <a:lnTo>
                    <a:pt x="1529" y="1288"/>
                  </a:lnTo>
                  <a:lnTo>
                    <a:pt x="1494" y="1357"/>
                  </a:lnTo>
                  <a:lnTo>
                    <a:pt x="1463" y="1426"/>
                  </a:lnTo>
                  <a:lnTo>
                    <a:pt x="1435" y="1496"/>
                  </a:lnTo>
                  <a:lnTo>
                    <a:pt x="1408" y="1565"/>
                  </a:lnTo>
                  <a:lnTo>
                    <a:pt x="1385" y="1632"/>
                  </a:lnTo>
                  <a:lnTo>
                    <a:pt x="1364" y="1698"/>
                  </a:lnTo>
                  <a:lnTo>
                    <a:pt x="1346" y="1762"/>
                  </a:lnTo>
                  <a:lnTo>
                    <a:pt x="1330" y="1823"/>
                  </a:lnTo>
                  <a:lnTo>
                    <a:pt x="1315" y="1882"/>
                  </a:lnTo>
                  <a:lnTo>
                    <a:pt x="1304" y="1939"/>
                  </a:lnTo>
                  <a:lnTo>
                    <a:pt x="1293" y="1990"/>
                  </a:lnTo>
                  <a:lnTo>
                    <a:pt x="1285" y="2038"/>
                  </a:lnTo>
                  <a:lnTo>
                    <a:pt x="1278" y="2082"/>
                  </a:lnTo>
                  <a:lnTo>
                    <a:pt x="1271" y="2121"/>
                  </a:lnTo>
                  <a:lnTo>
                    <a:pt x="1267" y="2155"/>
                  </a:lnTo>
                  <a:lnTo>
                    <a:pt x="1264" y="2183"/>
                  </a:lnTo>
                  <a:lnTo>
                    <a:pt x="1262" y="2205"/>
                  </a:lnTo>
                  <a:lnTo>
                    <a:pt x="1260" y="2220"/>
                  </a:lnTo>
                  <a:lnTo>
                    <a:pt x="1260" y="2228"/>
                  </a:lnTo>
                  <a:lnTo>
                    <a:pt x="1260" y="2233"/>
                  </a:lnTo>
                  <a:lnTo>
                    <a:pt x="1259" y="2305"/>
                  </a:lnTo>
                  <a:lnTo>
                    <a:pt x="1263" y="2376"/>
                  </a:lnTo>
                  <a:lnTo>
                    <a:pt x="1271" y="2443"/>
                  </a:lnTo>
                  <a:lnTo>
                    <a:pt x="1284" y="2507"/>
                  </a:lnTo>
                  <a:lnTo>
                    <a:pt x="1300" y="2567"/>
                  </a:lnTo>
                  <a:lnTo>
                    <a:pt x="1321" y="2625"/>
                  </a:lnTo>
                  <a:lnTo>
                    <a:pt x="1346" y="2680"/>
                  </a:lnTo>
                  <a:lnTo>
                    <a:pt x="1374" y="2731"/>
                  </a:lnTo>
                  <a:lnTo>
                    <a:pt x="1324" y="2747"/>
                  </a:lnTo>
                  <a:lnTo>
                    <a:pt x="1274" y="2759"/>
                  </a:lnTo>
                  <a:lnTo>
                    <a:pt x="1226" y="2770"/>
                  </a:lnTo>
                  <a:lnTo>
                    <a:pt x="1180" y="2777"/>
                  </a:lnTo>
                  <a:lnTo>
                    <a:pt x="1136" y="2782"/>
                  </a:lnTo>
                  <a:lnTo>
                    <a:pt x="1097" y="2785"/>
                  </a:lnTo>
                  <a:lnTo>
                    <a:pt x="1060" y="2787"/>
                  </a:lnTo>
                  <a:lnTo>
                    <a:pt x="1028" y="2789"/>
                  </a:lnTo>
                  <a:lnTo>
                    <a:pt x="999" y="2789"/>
                  </a:lnTo>
                  <a:lnTo>
                    <a:pt x="977" y="2787"/>
                  </a:lnTo>
                  <a:lnTo>
                    <a:pt x="961" y="2786"/>
                  </a:lnTo>
                  <a:lnTo>
                    <a:pt x="950" y="2785"/>
                  </a:lnTo>
                  <a:lnTo>
                    <a:pt x="946" y="2785"/>
                  </a:lnTo>
                  <a:lnTo>
                    <a:pt x="944" y="2785"/>
                  </a:lnTo>
                  <a:lnTo>
                    <a:pt x="939" y="2786"/>
                  </a:lnTo>
                  <a:lnTo>
                    <a:pt x="930" y="2786"/>
                  </a:lnTo>
                  <a:lnTo>
                    <a:pt x="919" y="2787"/>
                  </a:lnTo>
                  <a:lnTo>
                    <a:pt x="904" y="2789"/>
                  </a:lnTo>
                  <a:lnTo>
                    <a:pt x="886" y="2789"/>
                  </a:lnTo>
                  <a:lnTo>
                    <a:pt x="866" y="2789"/>
                  </a:lnTo>
                  <a:lnTo>
                    <a:pt x="844" y="2789"/>
                  </a:lnTo>
                  <a:lnTo>
                    <a:pt x="820" y="2787"/>
                  </a:lnTo>
                  <a:lnTo>
                    <a:pt x="793" y="2785"/>
                  </a:lnTo>
                  <a:lnTo>
                    <a:pt x="766" y="2783"/>
                  </a:lnTo>
                  <a:lnTo>
                    <a:pt x="736" y="2780"/>
                  </a:lnTo>
                  <a:lnTo>
                    <a:pt x="704" y="2776"/>
                  </a:lnTo>
                  <a:lnTo>
                    <a:pt x="672" y="2771"/>
                  </a:lnTo>
                  <a:lnTo>
                    <a:pt x="638" y="2764"/>
                  </a:lnTo>
                  <a:lnTo>
                    <a:pt x="604" y="2756"/>
                  </a:lnTo>
                  <a:lnTo>
                    <a:pt x="568" y="2748"/>
                  </a:lnTo>
                  <a:lnTo>
                    <a:pt x="533" y="2736"/>
                  </a:lnTo>
                  <a:lnTo>
                    <a:pt x="497" y="2724"/>
                  </a:lnTo>
                  <a:lnTo>
                    <a:pt x="461" y="2709"/>
                  </a:lnTo>
                  <a:lnTo>
                    <a:pt x="425" y="2693"/>
                  </a:lnTo>
                  <a:lnTo>
                    <a:pt x="389" y="2674"/>
                  </a:lnTo>
                  <a:lnTo>
                    <a:pt x="354" y="2653"/>
                  </a:lnTo>
                  <a:lnTo>
                    <a:pt x="319" y="2631"/>
                  </a:lnTo>
                  <a:lnTo>
                    <a:pt x="286" y="2606"/>
                  </a:lnTo>
                  <a:lnTo>
                    <a:pt x="252" y="2578"/>
                  </a:lnTo>
                  <a:lnTo>
                    <a:pt x="221" y="2547"/>
                  </a:lnTo>
                  <a:lnTo>
                    <a:pt x="190" y="2515"/>
                  </a:lnTo>
                  <a:lnTo>
                    <a:pt x="161" y="2478"/>
                  </a:lnTo>
                  <a:lnTo>
                    <a:pt x="134" y="2440"/>
                  </a:lnTo>
                  <a:lnTo>
                    <a:pt x="109" y="2398"/>
                  </a:lnTo>
                  <a:lnTo>
                    <a:pt x="86" y="2353"/>
                  </a:lnTo>
                  <a:lnTo>
                    <a:pt x="66" y="2303"/>
                  </a:lnTo>
                  <a:lnTo>
                    <a:pt x="47" y="2252"/>
                  </a:lnTo>
                  <a:lnTo>
                    <a:pt x="31" y="2196"/>
                  </a:lnTo>
                  <a:lnTo>
                    <a:pt x="19" y="2137"/>
                  </a:lnTo>
                  <a:lnTo>
                    <a:pt x="9" y="2074"/>
                  </a:lnTo>
                  <a:lnTo>
                    <a:pt x="3" y="2007"/>
                  </a:lnTo>
                  <a:lnTo>
                    <a:pt x="0" y="1936"/>
                  </a:lnTo>
                  <a:lnTo>
                    <a:pt x="1" y="1861"/>
                  </a:lnTo>
                  <a:lnTo>
                    <a:pt x="1" y="1858"/>
                  </a:lnTo>
                  <a:lnTo>
                    <a:pt x="2" y="1848"/>
                  </a:lnTo>
                  <a:lnTo>
                    <a:pt x="3" y="1832"/>
                  </a:lnTo>
                  <a:lnTo>
                    <a:pt x="5" y="1810"/>
                  </a:lnTo>
                  <a:lnTo>
                    <a:pt x="9" y="1781"/>
                  </a:lnTo>
                  <a:lnTo>
                    <a:pt x="14" y="1749"/>
                  </a:lnTo>
                  <a:lnTo>
                    <a:pt x="19" y="1711"/>
                  </a:lnTo>
                  <a:lnTo>
                    <a:pt x="25" y="1668"/>
                  </a:lnTo>
                  <a:lnTo>
                    <a:pt x="33" y="1621"/>
                  </a:lnTo>
                  <a:lnTo>
                    <a:pt x="42" y="1571"/>
                  </a:lnTo>
                  <a:lnTo>
                    <a:pt x="53" y="1516"/>
                  </a:lnTo>
                  <a:lnTo>
                    <a:pt x="65" y="1459"/>
                  </a:lnTo>
                  <a:lnTo>
                    <a:pt x="80" y="1398"/>
                  </a:lnTo>
                  <a:lnTo>
                    <a:pt x="95" y="1446"/>
                  </a:lnTo>
                  <a:lnTo>
                    <a:pt x="114" y="1498"/>
                  </a:lnTo>
                  <a:lnTo>
                    <a:pt x="136" y="1549"/>
                  </a:lnTo>
                  <a:lnTo>
                    <a:pt x="160" y="1601"/>
                  </a:lnTo>
                  <a:lnTo>
                    <a:pt x="186" y="1653"/>
                  </a:lnTo>
                  <a:lnTo>
                    <a:pt x="216" y="1704"/>
                  </a:lnTo>
                  <a:lnTo>
                    <a:pt x="248" y="1754"/>
                  </a:lnTo>
                  <a:lnTo>
                    <a:pt x="284" y="1801"/>
                  </a:lnTo>
                  <a:lnTo>
                    <a:pt x="321" y="1846"/>
                  </a:lnTo>
                  <a:lnTo>
                    <a:pt x="363" y="1887"/>
                  </a:lnTo>
                  <a:lnTo>
                    <a:pt x="408" y="1924"/>
                  </a:lnTo>
                  <a:lnTo>
                    <a:pt x="424" y="1932"/>
                  </a:lnTo>
                  <a:lnTo>
                    <a:pt x="442" y="1934"/>
                  </a:lnTo>
                  <a:lnTo>
                    <a:pt x="454" y="1933"/>
                  </a:lnTo>
                  <a:lnTo>
                    <a:pt x="466" y="1929"/>
                  </a:lnTo>
                  <a:lnTo>
                    <a:pt x="477" y="1922"/>
                  </a:lnTo>
                  <a:lnTo>
                    <a:pt x="486" y="1912"/>
                  </a:lnTo>
                  <a:lnTo>
                    <a:pt x="493" y="1899"/>
                  </a:lnTo>
                  <a:lnTo>
                    <a:pt x="497" y="1885"/>
                  </a:lnTo>
                  <a:lnTo>
                    <a:pt x="496" y="1871"/>
                  </a:lnTo>
                  <a:lnTo>
                    <a:pt x="493" y="1857"/>
                  </a:lnTo>
                  <a:lnTo>
                    <a:pt x="484" y="1844"/>
                  </a:lnTo>
                  <a:lnTo>
                    <a:pt x="474" y="1834"/>
                  </a:lnTo>
                  <a:lnTo>
                    <a:pt x="435" y="1801"/>
                  </a:lnTo>
                  <a:lnTo>
                    <a:pt x="399" y="1766"/>
                  </a:lnTo>
                  <a:lnTo>
                    <a:pt x="365" y="1725"/>
                  </a:lnTo>
                  <a:lnTo>
                    <a:pt x="334" y="1682"/>
                  </a:lnTo>
                  <a:lnTo>
                    <a:pt x="306" y="1637"/>
                  </a:lnTo>
                  <a:lnTo>
                    <a:pt x="279" y="1590"/>
                  </a:lnTo>
                  <a:lnTo>
                    <a:pt x="255" y="1543"/>
                  </a:lnTo>
                  <a:lnTo>
                    <a:pt x="234" y="1494"/>
                  </a:lnTo>
                  <a:lnTo>
                    <a:pt x="216" y="1447"/>
                  </a:lnTo>
                  <a:lnTo>
                    <a:pt x="198" y="1401"/>
                  </a:lnTo>
                  <a:lnTo>
                    <a:pt x="183" y="1357"/>
                  </a:lnTo>
                  <a:lnTo>
                    <a:pt x="171" y="1315"/>
                  </a:lnTo>
                  <a:lnTo>
                    <a:pt x="159" y="1275"/>
                  </a:lnTo>
                  <a:lnTo>
                    <a:pt x="151" y="1241"/>
                  </a:lnTo>
                  <a:lnTo>
                    <a:pt x="142" y="1210"/>
                  </a:lnTo>
                  <a:lnTo>
                    <a:pt x="137" y="1184"/>
                  </a:lnTo>
                  <a:lnTo>
                    <a:pt x="159" y="1115"/>
                  </a:lnTo>
                  <a:lnTo>
                    <a:pt x="183" y="1044"/>
                  </a:lnTo>
                  <a:lnTo>
                    <a:pt x="210" y="973"/>
                  </a:lnTo>
                  <a:lnTo>
                    <a:pt x="239" y="900"/>
                  </a:lnTo>
                  <a:lnTo>
                    <a:pt x="270" y="827"/>
                  </a:lnTo>
                  <a:lnTo>
                    <a:pt x="304" y="755"/>
                  </a:lnTo>
                  <a:lnTo>
                    <a:pt x="341" y="682"/>
                  </a:lnTo>
                  <a:lnTo>
                    <a:pt x="380" y="610"/>
                  </a:lnTo>
                  <a:lnTo>
                    <a:pt x="422" y="540"/>
                  </a:lnTo>
                  <a:lnTo>
                    <a:pt x="468" y="470"/>
                  </a:lnTo>
                  <a:lnTo>
                    <a:pt x="516" y="402"/>
                  </a:lnTo>
                  <a:lnTo>
                    <a:pt x="567" y="336"/>
                  </a:lnTo>
                  <a:lnTo>
                    <a:pt x="622" y="273"/>
                  </a:lnTo>
                  <a:lnTo>
                    <a:pt x="679" y="212"/>
                  </a:lnTo>
                  <a:lnTo>
                    <a:pt x="741" y="154"/>
                  </a:lnTo>
                  <a:lnTo>
                    <a:pt x="806" y="99"/>
                  </a:lnTo>
                  <a:lnTo>
                    <a:pt x="874" y="47"/>
                  </a:lnTo>
                  <a:lnTo>
                    <a:pt x="9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15" name="Freeform 291">
              <a:extLst>
                <a:ext uri="{FF2B5EF4-FFF2-40B4-BE49-F238E27FC236}">
                  <a16:creationId xmlns:a16="http://schemas.microsoft.com/office/drawing/2014/main" id="{865CB586-C88C-4C77-926D-2578A254BC0F}"/>
                </a:ext>
              </a:extLst>
            </p:cNvPr>
            <p:cNvSpPr>
              <a:spLocks/>
            </p:cNvSpPr>
            <p:nvPr/>
          </p:nvSpPr>
          <p:spPr bwMode="auto">
            <a:xfrm>
              <a:off x="1276" y="1603"/>
              <a:ext cx="28" cy="43"/>
            </a:xfrm>
            <a:custGeom>
              <a:avLst/>
              <a:gdLst>
                <a:gd name="T0" fmla="*/ 366 w 366"/>
                <a:gd name="T1" fmla="*/ 0 h 561"/>
                <a:gd name="T2" fmla="*/ 366 w 366"/>
                <a:gd name="T3" fmla="*/ 485 h 561"/>
                <a:gd name="T4" fmla="*/ 366 w 366"/>
                <a:gd name="T5" fmla="*/ 495 h 561"/>
                <a:gd name="T6" fmla="*/ 366 w 366"/>
                <a:gd name="T7" fmla="*/ 498 h 561"/>
                <a:gd name="T8" fmla="*/ 364 w 366"/>
                <a:gd name="T9" fmla="*/ 518 h 561"/>
                <a:gd name="T10" fmla="*/ 358 w 366"/>
                <a:gd name="T11" fmla="*/ 536 h 561"/>
                <a:gd name="T12" fmla="*/ 348 w 366"/>
                <a:gd name="T13" fmla="*/ 548 h 561"/>
                <a:gd name="T14" fmla="*/ 336 w 366"/>
                <a:gd name="T15" fmla="*/ 558 h 561"/>
                <a:gd name="T16" fmla="*/ 322 w 366"/>
                <a:gd name="T17" fmla="*/ 561 h 561"/>
                <a:gd name="T18" fmla="*/ 44 w 366"/>
                <a:gd name="T19" fmla="*/ 561 h 561"/>
                <a:gd name="T20" fmla="*/ 30 w 366"/>
                <a:gd name="T21" fmla="*/ 558 h 561"/>
                <a:gd name="T22" fmla="*/ 18 w 366"/>
                <a:gd name="T23" fmla="*/ 548 h 561"/>
                <a:gd name="T24" fmla="*/ 8 w 366"/>
                <a:gd name="T25" fmla="*/ 536 h 561"/>
                <a:gd name="T26" fmla="*/ 2 w 366"/>
                <a:gd name="T27" fmla="*/ 518 h 561"/>
                <a:gd name="T28" fmla="*/ 0 w 366"/>
                <a:gd name="T29" fmla="*/ 498 h 561"/>
                <a:gd name="T30" fmla="*/ 0 w 366"/>
                <a:gd name="T31" fmla="*/ 495 h 561"/>
                <a:gd name="T32" fmla="*/ 0 w 366"/>
                <a:gd name="T33" fmla="*/ 485 h 561"/>
                <a:gd name="T34" fmla="*/ 0 w 366"/>
                <a:gd name="T35" fmla="*/ 467 h 561"/>
                <a:gd name="T36" fmla="*/ 0 w 366"/>
                <a:gd name="T37" fmla="*/ 445 h 561"/>
                <a:gd name="T38" fmla="*/ 0 w 366"/>
                <a:gd name="T39" fmla="*/ 417 h 561"/>
                <a:gd name="T40" fmla="*/ 0 w 366"/>
                <a:gd name="T41" fmla="*/ 385 h 561"/>
                <a:gd name="T42" fmla="*/ 0 w 366"/>
                <a:gd name="T43" fmla="*/ 349 h 561"/>
                <a:gd name="T44" fmla="*/ 0 w 366"/>
                <a:gd name="T45" fmla="*/ 311 h 561"/>
                <a:gd name="T46" fmla="*/ 0 w 366"/>
                <a:gd name="T47" fmla="*/ 269 h 561"/>
                <a:gd name="T48" fmla="*/ 0 w 366"/>
                <a:gd name="T49" fmla="*/ 225 h 561"/>
                <a:gd name="T50" fmla="*/ 0 w 366"/>
                <a:gd name="T51" fmla="*/ 181 h 561"/>
                <a:gd name="T52" fmla="*/ 0 w 366"/>
                <a:gd name="T53" fmla="*/ 135 h 561"/>
                <a:gd name="T54" fmla="*/ 0 w 366"/>
                <a:gd name="T55" fmla="*/ 89 h 561"/>
                <a:gd name="T56" fmla="*/ 0 w 366"/>
                <a:gd name="T57" fmla="*/ 44 h 561"/>
                <a:gd name="T58" fmla="*/ 0 w 366"/>
                <a:gd name="T59" fmla="*/ 0 h 561"/>
                <a:gd name="T60" fmla="*/ 40 w 366"/>
                <a:gd name="T61" fmla="*/ 4 h 561"/>
                <a:gd name="T62" fmla="*/ 75 w 366"/>
                <a:gd name="T63" fmla="*/ 5 h 561"/>
                <a:gd name="T64" fmla="*/ 109 w 366"/>
                <a:gd name="T65" fmla="*/ 6 h 561"/>
                <a:gd name="T66" fmla="*/ 140 w 366"/>
                <a:gd name="T67" fmla="*/ 5 h 561"/>
                <a:gd name="T68" fmla="*/ 165 w 366"/>
                <a:gd name="T69" fmla="*/ 4 h 561"/>
                <a:gd name="T70" fmla="*/ 183 w 366"/>
                <a:gd name="T71" fmla="*/ 2 h 561"/>
                <a:gd name="T72" fmla="*/ 201 w 366"/>
                <a:gd name="T73" fmla="*/ 4 h 561"/>
                <a:gd name="T74" fmla="*/ 225 w 366"/>
                <a:gd name="T75" fmla="*/ 5 h 561"/>
                <a:gd name="T76" fmla="*/ 256 w 366"/>
                <a:gd name="T77" fmla="*/ 5 h 561"/>
                <a:gd name="T78" fmla="*/ 290 w 366"/>
                <a:gd name="T79" fmla="*/ 5 h 561"/>
                <a:gd name="T80" fmla="*/ 326 w 366"/>
                <a:gd name="T81" fmla="*/ 2 h 561"/>
                <a:gd name="T82" fmla="*/ 366 w 366"/>
                <a:gd name="T8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6" h="561">
                  <a:moveTo>
                    <a:pt x="366" y="0"/>
                  </a:moveTo>
                  <a:lnTo>
                    <a:pt x="366" y="485"/>
                  </a:lnTo>
                  <a:lnTo>
                    <a:pt x="366" y="495"/>
                  </a:lnTo>
                  <a:lnTo>
                    <a:pt x="366" y="498"/>
                  </a:lnTo>
                  <a:lnTo>
                    <a:pt x="364" y="518"/>
                  </a:lnTo>
                  <a:lnTo>
                    <a:pt x="358" y="536"/>
                  </a:lnTo>
                  <a:lnTo>
                    <a:pt x="348" y="548"/>
                  </a:lnTo>
                  <a:lnTo>
                    <a:pt x="336" y="558"/>
                  </a:lnTo>
                  <a:lnTo>
                    <a:pt x="322" y="561"/>
                  </a:lnTo>
                  <a:lnTo>
                    <a:pt x="44" y="561"/>
                  </a:lnTo>
                  <a:lnTo>
                    <a:pt x="30" y="558"/>
                  </a:lnTo>
                  <a:lnTo>
                    <a:pt x="18" y="548"/>
                  </a:lnTo>
                  <a:lnTo>
                    <a:pt x="8" y="536"/>
                  </a:lnTo>
                  <a:lnTo>
                    <a:pt x="2" y="518"/>
                  </a:lnTo>
                  <a:lnTo>
                    <a:pt x="0" y="498"/>
                  </a:lnTo>
                  <a:lnTo>
                    <a:pt x="0" y="495"/>
                  </a:lnTo>
                  <a:lnTo>
                    <a:pt x="0" y="485"/>
                  </a:lnTo>
                  <a:lnTo>
                    <a:pt x="0" y="467"/>
                  </a:lnTo>
                  <a:lnTo>
                    <a:pt x="0" y="445"/>
                  </a:lnTo>
                  <a:lnTo>
                    <a:pt x="0" y="417"/>
                  </a:lnTo>
                  <a:lnTo>
                    <a:pt x="0" y="385"/>
                  </a:lnTo>
                  <a:lnTo>
                    <a:pt x="0" y="349"/>
                  </a:lnTo>
                  <a:lnTo>
                    <a:pt x="0" y="311"/>
                  </a:lnTo>
                  <a:lnTo>
                    <a:pt x="0" y="269"/>
                  </a:lnTo>
                  <a:lnTo>
                    <a:pt x="0" y="225"/>
                  </a:lnTo>
                  <a:lnTo>
                    <a:pt x="0" y="181"/>
                  </a:lnTo>
                  <a:lnTo>
                    <a:pt x="0" y="135"/>
                  </a:lnTo>
                  <a:lnTo>
                    <a:pt x="0" y="89"/>
                  </a:lnTo>
                  <a:lnTo>
                    <a:pt x="0" y="44"/>
                  </a:lnTo>
                  <a:lnTo>
                    <a:pt x="0" y="0"/>
                  </a:lnTo>
                  <a:lnTo>
                    <a:pt x="40" y="4"/>
                  </a:lnTo>
                  <a:lnTo>
                    <a:pt x="75" y="5"/>
                  </a:lnTo>
                  <a:lnTo>
                    <a:pt x="109" y="6"/>
                  </a:lnTo>
                  <a:lnTo>
                    <a:pt x="140" y="5"/>
                  </a:lnTo>
                  <a:lnTo>
                    <a:pt x="165" y="4"/>
                  </a:lnTo>
                  <a:lnTo>
                    <a:pt x="183" y="2"/>
                  </a:lnTo>
                  <a:lnTo>
                    <a:pt x="201" y="4"/>
                  </a:lnTo>
                  <a:lnTo>
                    <a:pt x="225" y="5"/>
                  </a:lnTo>
                  <a:lnTo>
                    <a:pt x="256" y="5"/>
                  </a:lnTo>
                  <a:lnTo>
                    <a:pt x="290" y="5"/>
                  </a:lnTo>
                  <a:lnTo>
                    <a:pt x="326" y="2"/>
                  </a:lnTo>
                  <a:lnTo>
                    <a:pt x="3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16" name="Freeform 292">
              <a:extLst>
                <a:ext uri="{FF2B5EF4-FFF2-40B4-BE49-F238E27FC236}">
                  <a16:creationId xmlns:a16="http://schemas.microsoft.com/office/drawing/2014/main" id="{D1E08A63-8C27-45AC-84F1-38498B9E9144}"/>
                </a:ext>
              </a:extLst>
            </p:cNvPr>
            <p:cNvSpPr>
              <a:spLocks/>
            </p:cNvSpPr>
            <p:nvPr/>
          </p:nvSpPr>
          <p:spPr bwMode="auto">
            <a:xfrm>
              <a:off x="1367" y="1615"/>
              <a:ext cx="22" cy="31"/>
            </a:xfrm>
            <a:custGeom>
              <a:avLst/>
              <a:gdLst>
                <a:gd name="T0" fmla="*/ 0 w 280"/>
                <a:gd name="T1" fmla="*/ 0 h 402"/>
                <a:gd name="T2" fmla="*/ 44 w 280"/>
                <a:gd name="T3" fmla="*/ 3 h 402"/>
                <a:gd name="T4" fmla="*/ 83 w 280"/>
                <a:gd name="T5" fmla="*/ 3 h 402"/>
                <a:gd name="T6" fmla="*/ 83 w 280"/>
                <a:gd name="T7" fmla="*/ 3 h 402"/>
                <a:gd name="T8" fmla="*/ 106 w 280"/>
                <a:gd name="T9" fmla="*/ 3 h 402"/>
                <a:gd name="T10" fmla="*/ 125 w 280"/>
                <a:gd name="T11" fmla="*/ 2 h 402"/>
                <a:gd name="T12" fmla="*/ 140 w 280"/>
                <a:gd name="T13" fmla="*/ 2 h 402"/>
                <a:gd name="T14" fmla="*/ 154 w 280"/>
                <a:gd name="T15" fmla="*/ 2 h 402"/>
                <a:gd name="T16" fmla="*/ 173 w 280"/>
                <a:gd name="T17" fmla="*/ 3 h 402"/>
                <a:gd name="T18" fmla="*/ 196 w 280"/>
                <a:gd name="T19" fmla="*/ 3 h 402"/>
                <a:gd name="T20" fmla="*/ 236 w 280"/>
                <a:gd name="T21" fmla="*/ 3 h 402"/>
                <a:gd name="T22" fmla="*/ 280 w 280"/>
                <a:gd name="T23" fmla="*/ 0 h 402"/>
                <a:gd name="T24" fmla="*/ 280 w 280"/>
                <a:gd name="T25" fmla="*/ 240 h 402"/>
                <a:gd name="T26" fmla="*/ 280 w 280"/>
                <a:gd name="T27" fmla="*/ 271 h 402"/>
                <a:gd name="T28" fmla="*/ 280 w 280"/>
                <a:gd name="T29" fmla="*/ 299 h 402"/>
                <a:gd name="T30" fmla="*/ 280 w 280"/>
                <a:gd name="T31" fmla="*/ 322 h 402"/>
                <a:gd name="T32" fmla="*/ 280 w 280"/>
                <a:gd name="T33" fmla="*/ 339 h 402"/>
                <a:gd name="T34" fmla="*/ 280 w 280"/>
                <a:gd name="T35" fmla="*/ 351 h 402"/>
                <a:gd name="T36" fmla="*/ 280 w 280"/>
                <a:gd name="T37" fmla="*/ 354 h 402"/>
                <a:gd name="T38" fmla="*/ 278 w 280"/>
                <a:gd name="T39" fmla="*/ 370 h 402"/>
                <a:gd name="T40" fmla="*/ 274 w 280"/>
                <a:gd name="T41" fmla="*/ 382 h 402"/>
                <a:gd name="T42" fmla="*/ 266 w 280"/>
                <a:gd name="T43" fmla="*/ 393 h 402"/>
                <a:gd name="T44" fmla="*/ 257 w 280"/>
                <a:gd name="T45" fmla="*/ 400 h 402"/>
                <a:gd name="T46" fmla="*/ 247 w 280"/>
                <a:gd name="T47" fmla="*/ 402 h 402"/>
                <a:gd name="T48" fmla="*/ 33 w 280"/>
                <a:gd name="T49" fmla="*/ 402 h 402"/>
                <a:gd name="T50" fmla="*/ 23 w 280"/>
                <a:gd name="T51" fmla="*/ 400 h 402"/>
                <a:gd name="T52" fmla="*/ 13 w 280"/>
                <a:gd name="T53" fmla="*/ 393 h 402"/>
                <a:gd name="T54" fmla="*/ 6 w 280"/>
                <a:gd name="T55" fmla="*/ 382 h 402"/>
                <a:gd name="T56" fmla="*/ 2 w 280"/>
                <a:gd name="T57" fmla="*/ 370 h 402"/>
                <a:gd name="T58" fmla="*/ 0 w 280"/>
                <a:gd name="T59" fmla="*/ 354 h 402"/>
                <a:gd name="T60" fmla="*/ 0 w 280"/>
                <a:gd name="T61" fmla="*/ 351 h 402"/>
                <a:gd name="T62" fmla="*/ 0 w 280"/>
                <a:gd name="T63" fmla="*/ 339 h 402"/>
                <a:gd name="T64" fmla="*/ 0 w 280"/>
                <a:gd name="T65" fmla="*/ 322 h 402"/>
                <a:gd name="T66" fmla="*/ 0 w 280"/>
                <a:gd name="T67" fmla="*/ 240 h 402"/>
                <a:gd name="T68" fmla="*/ 0 w 280"/>
                <a:gd name="T69" fmla="*/ 204 h 402"/>
                <a:gd name="T70" fmla="*/ 0 w 280"/>
                <a:gd name="T71" fmla="*/ 166 h 402"/>
                <a:gd name="T72" fmla="*/ 0 w 280"/>
                <a:gd name="T73" fmla="*/ 125 h 402"/>
                <a:gd name="T74" fmla="*/ 0 w 280"/>
                <a:gd name="T75" fmla="*/ 83 h 402"/>
                <a:gd name="T76" fmla="*/ 0 w 280"/>
                <a:gd name="T77" fmla="*/ 42 h 402"/>
                <a:gd name="T78" fmla="*/ 0 w 280"/>
                <a:gd name="T7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402">
                  <a:moveTo>
                    <a:pt x="0" y="0"/>
                  </a:moveTo>
                  <a:lnTo>
                    <a:pt x="44" y="3"/>
                  </a:lnTo>
                  <a:lnTo>
                    <a:pt x="83" y="3"/>
                  </a:lnTo>
                  <a:lnTo>
                    <a:pt x="83" y="3"/>
                  </a:lnTo>
                  <a:lnTo>
                    <a:pt x="106" y="3"/>
                  </a:lnTo>
                  <a:lnTo>
                    <a:pt x="125" y="2"/>
                  </a:lnTo>
                  <a:lnTo>
                    <a:pt x="140" y="2"/>
                  </a:lnTo>
                  <a:lnTo>
                    <a:pt x="154" y="2"/>
                  </a:lnTo>
                  <a:lnTo>
                    <a:pt x="173" y="3"/>
                  </a:lnTo>
                  <a:lnTo>
                    <a:pt x="196" y="3"/>
                  </a:lnTo>
                  <a:lnTo>
                    <a:pt x="236" y="3"/>
                  </a:lnTo>
                  <a:lnTo>
                    <a:pt x="280" y="0"/>
                  </a:lnTo>
                  <a:lnTo>
                    <a:pt x="280" y="240"/>
                  </a:lnTo>
                  <a:lnTo>
                    <a:pt x="280" y="271"/>
                  </a:lnTo>
                  <a:lnTo>
                    <a:pt x="280" y="299"/>
                  </a:lnTo>
                  <a:lnTo>
                    <a:pt x="280" y="322"/>
                  </a:lnTo>
                  <a:lnTo>
                    <a:pt x="280" y="339"/>
                  </a:lnTo>
                  <a:lnTo>
                    <a:pt x="280" y="351"/>
                  </a:lnTo>
                  <a:lnTo>
                    <a:pt x="280" y="354"/>
                  </a:lnTo>
                  <a:lnTo>
                    <a:pt x="278" y="370"/>
                  </a:lnTo>
                  <a:lnTo>
                    <a:pt x="274" y="382"/>
                  </a:lnTo>
                  <a:lnTo>
                    <a:pt x="266" y="393"/>
                  </a:lnTo>
                  <a:lnTo>
                    <a:pt x="257" y="400"/>
                  </a:lnTo>
                  <a:lnTo>
                    <a:pt x="247" y="402"/>
                  </a:lnTo>
                  <a:lnTo>
                    <a:pt x="33" y="402"/>
                  </a:lnTo>
                  <a:lnTo>
                    <a:pt x="23" y="400"/>
                  </a:lnTo>
                  <a:lnTo>
                    <a:pt x="13" y="393"/>
                  </a:lnTo>
                  <a:lnTo>
                    <a:pt x="6" y="382"/>
                  </a:lnTo>
                  <a:lnTo>
                    <a:pt x="2" y="370"/>
                  </a:lnTo>
                  <a:lnTo>
                    <a:pt x="0" y="354"/>
                  </a:lnTo>
                  <a:lnTo>
                    <a:pt x="0" y="351"/>
                  </a:lnTo>
                  <a:lnTo>
                    <a:pt x="0" y="339"/>
                  </a:lnTo>
                  <a:lnTo>
                    <a:pt x="0" y="322"/>
                  </a:lnTo>
                  <a:lnTo>
                    <a:pt x="0" y="240"/>
                  </a:lnTo>
                  <a:lnTo>
                    <a:pt x="0" y="204"/>
                  </a:lnTo>
                  <a:lnTo>
                    <a:pt x="0" y="166"/>
                  </a:lnTo>
                  <a:lnTo>
                    <a:pt x="0" y="125"/>
                  </a:lnTo>
                  <a:lnTo>
                    <a:pt x="0" y="83"/>
                  </a:lnTo>
                  <a:lnTo>
                    <a:pt x="0" y="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61" name="Title44">
            <a:extLst>
              <a:ext uri="{FF2B5EF4-FFF2-40B4-BE49-F238E27FC236}">
                <a16:creationId xmlns:a16="http://schemas.microsoft.com/office/drawing/2014/main" id="{C83416E8-B4AB-4A8D-A670-5FC313472607}"/>
              </a:ext>
            </a:extLst>
          </p:cNvPr>
          <p:cNvSpPr txBox="1"/>
          <p:nvPr/>
        </p:nvSpPr>
        <p:spPr>
          <a:xfrm>
            <a:off x="758826" y="2647929"/>
            <a:ext cx="1006806" cy="4317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noProof="0" err="1">
                <a:solidFill>
                  <a:srgbClr val="000000"/>
                </a:solidFill>
                <a:latin typeface="+mn-lt"/>
                <a:cs typeface="Arial Narrow" pitchFamily="34" charset="0"/>
              </a:rPr>
              <a:t>CAREC</a:t>
            </a:r>
            <a:r>
              <a:rPr lang="en-US" noProof="0">
                <a:solidFill>
                  <a:srgbClr val="000000"/>
                </a:solidFill>
                <a:latin typeface="+mn-lt"/>
                <a:cs typeface="Arial Narrow" pitchFamily="34" charset="0"/>
              </a:rPr>
              <a:t> </a:t>
            </a:r>
            <a:br>
              <a:rPr lang="en-US" noProof="0">
                <a:solidFill>
                  <a:srgbClr val="000000"/>
                </a:solidFill>
                <a:latin typeface="+mn-lt"/>
                <a:cs typeface="Arial Narrow" pitchFamily="34" charset="0"/>
              </a:rPr>
            </a:br>
            <a:r>
              <a:rPr lang="en-US" noProof="0">
                <a:solidFill>
                  <a:srgbClr val="000000"/>
                </a:solidFill>
                <a:latin typeface="+mn-lt"/>
                <a:cs typeface="Arial Narrow" pitchFamily="34" charset="0"/>
              </a:rPr>
              <a:t>(without </a:t>
            </a:r>
            <a:r>
              <a:rPr lang="en-US">
                <a:solidFill>
                  <a:srgbClr val="000000"/>
                </a:solidFill>
                <a:latin typeface="+mn-lt"/>
                <a:cs typeface="Arial Narrow" pitchFamily="34" charset="0"/>
              </a:rPr>
              <a:t>PRC)</a:t>
            </a:r>
            <a:endParaRPr lang="en-US" noProof="0">
              <a:solidFill>
                <a:srgbClr val="000000"/>
              </a:solidFill>
              <a:latin typeface="+mn-lt"/>
              <a:cs typeface="Arial Narrow" pitchFamily="34" charset="0"/>
            </a:endParaRPr>
          </a:p>
        </p:txBody>
      </p:sp>
      <p:pic>
        <p:nvPicPr>
          <p:cNvPr id="262" name="Picture 4" descr="Результат пошуку зображень за запитом carec logo transparent">
            <a:extLst>
              <a:ext uri="{FF2B5EF4-FFF2-40B4-BE49-F238E27FC236}">
                <a16:creationId xmlns:a16="http://schemas.microsoft.com/office/drawing/2014/main" id="{19B6EE04-DD45-440D-A410-498030BCABD2}"/>
              </a:ext>
            </a:extLst>
          </p:cNvPr>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758825" y="2271360"/>
            <a:ext cx="464508" cy="3199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0" name="Chart 109">
            <a:extLst>
              <a:ext uri="{FF2B5EF4-FFF2-40B4-BE49-F238E27FC236}">
                <a16:creationId xmlns:a16="http://schemas.microsoft.com/office/drawing/2014/main" id="{6824ABE2-7D4A-4B09-A58C-1BC5C7E40F48}"/>
              </a:ext>
            </a:extLst>
          </p:cNvPr>
          <p:cNvGraphicFramePr/>
          <p:nvPr>
            <p:custDataLst>
              <p:tags r:id="rId3"/>
            </p:custDataLst>
            <p:extLst>
              <p:ext uri="{D42A27DB-BD31-4B8C-83A1-F6EECF244321}">
                <p14:modId xmlns:p14="http://schemas.microsoft.com/office/powerpoint/2010/main" val="2158301165"/>
              </p:ext>
            </p:extLst>
          </p:nvPr>
        </p:nvGraphicFramePr>
        <p:xfrm>
          <a:off x="1638300" y="2236788"/>
          <a:ext cx="4816475" cy="1885950"/>
        </p:xfrm>
        <a:graphic>
          <a:graphicData uri="http://schemas.openxmlformats.org/drawingml/2006/chart">
            <c:chart xmlns:c="http://schemas.openxmlformats.org/drawingml/2006/chart" xmlns:r="http://schemas.openxmlformats.org/officeDocument/2006/relationships" r:id="rId79"/>
          </a:graphicData>
        </a:graphic>
      </p:graphicFrame>
      <p:sp>
        <p:nvSpPr>
          <p:cNvPr id="131" name="Text Placeholder">
            <a:extLst>
              <a:ext uri="{FF2B5EF4-FFF2-40B4-BE49-F238E27FC236}">
                <a16:creationId xmlns:a16="http://schemas.microsoft.com/office/drawing/2014/main" id="{CBEBD6CC-E24C-4D8D-B1F0-708837DF245C}"/>
              </a:ext>
            </a:extLst>
          </p:cNvPr>
          <p:cNvSpPr>
            <a:spLocks noGrp="1"/>
          </p:cNvSpPr>
          <p:nvPr>
            <p:custDataLst>
              <p:tags r:id="rId4"/>
            </p:custDataLst>
          </p:nvPr>
        </p:nvSpPr>
        <p:spPr bwMode="gray">
          <a:xfrm>
            <a:off x="1762125" y="3951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28C9597-28DA-4BE5-9985-856347469FDB}" type="datetime'''''''''''''''''''''''''''''''''''''''''''6''''''''''''%'">
              <a:rPr lang="en-US" altLang="en-US" sz="800" smtClean="0">
                <a:solidFill>
                  <a:schemeClr val="bg1"/>
                </a:solidFill>
                <a:effectLst/>
              </a:rPr>
              <a:pPr algn="ctr">
                <a:spcBef>
                  <a:spcPct val="0"/>
                </a:spcBef>
              </a:pPr>
              <a:t>6%</a:t>
            </a:fld>
            <a:endParaRPr lang="en-US" sz="800">
              <a:solidFill>
                <a:schemeClr val="bg1"/>
              </a:solidFill>
            </a:endParaRPr>
          </a:p>
        </p:txBody>
      </p:sp>
      <p:sp>
        <p:nvSpPr>
          <p:cNvPr id="146" name="Text Placeholder">
            <a:extLst>
              <a:ext uri="{FF2B5EF4-FFF2-40B4-BE49-F238E27FC236}">
                <a16:creationId xmlns:a16="http://schemas.microsoft.com/office/drawing/2014/main" id="{EF1AB101-BD51-4ABA-A1FD-B3E3D1DE57A6}"/>
              </a:ext>
            </a:extLst>
          </p:cNvPr>
          <p:cNvSpPr>
            <a:spLocks noGrp="1"/>
          </p:cNvSpPr>
          <p:nvPr>
            <p:custDataLst>
              <p:tags r:id="rId5"/>
            </p:custDataLst>
          </p:nvPr>
        </p:nvSpPr>
        <p:spPr bwMode="auto">
          <a:xfrm>
            <a:off x="3151188"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4A6D6F2-8A47-47EA-91E7-258DD9B9B22F}" type="datetime'''''2''''''0''''''''20'">
              <a:rPr lang="en-US" altLang="en-US" sz="1000" smtClean="0"/>
              <a:pPr algn="ctr">
                <a:spcBef>
                  <a:spcPct val="0"/>
                </a:spcBef>
              </a:pPr>
              <a:t>2020</a:t>
            </a:fld>
            <a:endParaRPr lang="uk-UA" sz="1000"/>
          </a:p>
        </p:txBody>
      </p:sp>
      <p:sp>
        <p:nvSpPr>
          <p:cNvPr id="133" name="Text Placeholder">
            <a:extLst>
              <a:ext uri="{FF2B5EF4-FFF2-40B4-BE49-F238E27FC236}">
                <a16:creationId xmlns:a16="http://schemas.microsoft.com/office/drawing/2014/main" id="{99247115-84CA-452B-8FD7-295ED2D90489}"/>
              </a:ext>
            </a:extLst>
          </p:cNvPr>
          <p:cNvSpPr>
            <a:spLocks noGrp="1"/>
          </p:cNvSpPr>
          <p:nvPr>
            <p:custDataLst>
              <p:tags r:id="rId6"/>
            </p:custDataLst>
          </p:nvPr>
        </p:nvSpPr>
        <p:spPr bwMode="gray">
          <a:xfrm>
            <a:off x="1762125" y="2846388"/>
            <a:ext cx="198438" cy="109538"/>
          </a:xfrm>
          <a:prstGeom prst="rect">
            <a:avLst/>
          </a:prstGeom>
          <a:solidFill>
            <a:schemeClr val="accent4"/>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C98A7A5-0B51-46FA-B27F-2A959D161067}" type="datetime'''''''''''''''1''''''''2''''''''''''''''''''''''''%'''''''">
              <a:rPr lang="en-US" altLang="en-US" sz="800" smtClean="0">
                <a:effectLst/>
              </a:rPr>
              <a:pPr algn="ctr">
                <a:spcBef>
                  <a:spcPct val="0"/>
                </a:spcBef>
              </a:pPr>
              <a:t>12%</a:t>
            </a:fld>
            <a:endParaRPr lang="en-US" sz="800"/>
          </a:p>
        </p:txBody>
      </p:sp>
      <p:sp>
        <p:nvSpPr>
          <p:cNvPr id="139" name="Text Placeholder">
            <a:extLst>
              <a:ext uri="{FF2B5EF4-FFF2-40B4-BE49-F238E27FC236}">
                <a16:creationId xmlns:a16="http://schemas.microsoft.com/office/drawing/2014/main" id="{CDB97D54-D37E-45AE-9A87-BBD91B2BF37A}"/>
              </a:ext>
            </a:extLst>
          </p:cNvPr>
          <p:cNvSpPr>
            <a:spLocks noGrp="1"/>
          </p:cNvSpPr>
          <p:nvPr>
            <p:custDataLst>
              <p:tags r:id="rId7"/>
            </p:custDataLst>
          </p:nvPr>
        </p:nvSpPr>
        <p:spPr bwMode="gray">
          <a:xfrm>
            <a:off x="3173413" y="275907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C2B2860-2167-4A87-AB80-07487087CAC2}" type="datetime'''1''4''''%'''">
              <a:rPr lang="en-US" altLang="en-US" sz="800" smtClean="0"/>
              <a:pPr algn="ctr">
                <a:spcBef>
                  <a:spcPct val="0"/>
                </a:spcBef>
              </a:pPr>
              <a:t>14%</a:t>
            </a:fld>
            <a:endParaRPr lang="en-US" sz="800"/>
          </a:p>
        </p:txBody>
      </p:sp>
      <p:sp>
        <p:nvSpPr>
          <p:cNvPr id="140" name="Text Placeholder">
            <a:extLst>
              <a:ext uri="{FF2B5EF4-FFF2-40B4-BE49-F238E27FC236}">
                <a16:creationId xmlns:a16="http://schemas.microsoft.com/office/drawing/2014/main" id="{72683E8C-837E-4F8F-8204-6369C01D6E20}"/>
              </a:ext>
            </a:extLst>
          </p:cNvPr>
          <p:cNvSpPr>
            <a:spLocks noGrp="1"/>
          </p:cNvSpPr>
          <p:nvPr>
            <p:custDataLst>
              <p:tags r:id="rId8"/>
            </p:custDataLst>
          </p:nvPr>
        </p:nvSpPr>
        <p:spPr bwMode="auto">
          <a:xfrm>
            <a:off x="1600200"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66799FE-3136-4F1C-92F8-DAE377226E51}" type="datetime'''''''''''2''''''''''''''01''5'''''''''''''''">
              <a:rPr lang="en-US" altLang="en-US" sz="1000" smtClean="0"/>
              <a:pPr algn="ctr">
                <a:spcBef>
                  <a:spcPct val="0"/>
                </a:spcBef>
              </a:pPr>
              <a:t>2015</a:t>
            </a:fld>
            <a:endParaRPr lang="uk-UA" sz="1000"/>
          </a:p>
        </p:txBody>
      </p:sp>
      <p:sp>
        <p:nvSpPr>
          <p:cNvPr id="135" name="Text Placeholder">
            <a:extLst>
              <a:ext uri="{FF2B5EF4-FFF2-40B4-BE49-F238E27FC236}">
                <a16:creationId xmlns:a16="http://schemas.microsoft.com/office/drawing/2014/main" id="{F86170AD-B421-419D-866F-BF2306B715C5}"/>
              </a:ext>
            </a:extLst>
          </p:cNvPr>
          <p:cNvSpPr>
            <a:spLocks noGrp="1"/>
          </p:cNvSpPr>
          <p:nvPr>
            <p:custDataLst>
              <p:tags r:id="rId9"/>
            </p:custDataLst>
          </p:nvPr>
        </p:nvSpPr>
        <p:spPr bwMode="gray">
          <a:xfrm>
            <a:off x="1762125" y="3806825"/>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F0CCD59-8905-4389-BF68-3AAF396E328F}" type="datetime'''''''1''''''''''''''''''''''''''''''''''8''''''''''%'''">
              <a:rPr lang="en-US" altLang="en-US" sz="800" smtClean="0"/>
              <a:pPr algn="ctr">
                <a:spcBef>
                  <a:spcPct val="0"/>
                </a:spcBef>
              </a:pPr>
              <a:t>18%</a:t>
            </a:fld>
            <a:endParaRPr lang="en-US" sz="800"/>
          </a:p>
        </p:txBody>
      </p:sp>
      <p:sp>
        <p:nvSpPr>
          <p:cNvPr id="150" name="Text Placeholder">
            <a:extLst>
              <a:ext uri="{FF2B5EF4-FFF2-40B4-BE49-F238E27FC236}">
                <a16:creationId xmlns:a16="http://schemas.microsoft.com/office/drawing/2014/main" id="{F26DC401-222B-4935-A2CA-6AD611B97DDB}"/>
              </a:ext>
            </a:extLst>
          </p:cNvPr>
          <p:cNvSpPr>
            <a:spLocks noGrp="1"/>
          </p:cNvSpPr>
          <p:nvPr>
            <p:custDataLst>
              <p:tags r:id="rId10"/>
            </p:custDataLst>
          </p:nvPr>
        </p:nvSpPr>
        <p:spPr bwMode="gray">
          <a:xfrm>
            <a:off x="4745038" y="3281363"/>
            <a:ext cx="152400"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C07324B-BDFC-469E-8F8B-CC2E67FDEDCF}" type="datetime'''''''''''''9''''''''''''''''''''''''''%'''''">
              <a:rPr lang="en-US" altLang="en-US" sz="800" smtClean="0">
                <a:solidFill>
                  <a:schemeClr val="bg1"/>
                </a:solidFill>
              </a:rPr>
              <a:pPr algn="ctr">
                <a:spcBef>
                  <a:spcPct val="0"/>
                </a:spcBef>
              </a:pPr>
              <a:t>9%</a:t>
            </a:fld>
            <a:endParaRPr lang="en-US" sz="800">
              <a:solidFill>
                <a:schemeClr val="bg1"/>
              </a:solidFill>
            </a:endParaRPr>
          </a:p>
        </p:txBody>
      </p:sp>
      <p:sp>
        <p:nvSpPr>
          <p:cNvPr id="134" name="Text Placeholder">
            <a:extLst>
              <a:ext uri="{FF2B5EF4-FFF2-40B4-BE49-F238E27FC236}">
                <a16:creationId xmlns:a16="http://schemas.microsoft.com/office/drawing/2014/main" id="{FCD42008-1D58-4D4B-9D90-FE861C45B847}"/>
              </a:ext>
            </a:extLst>
          </p:cNvPr>
          <p:cNvSpPr>
            <a:spLocks noGrp="1"/>
          </p:cNvSpPr>
          <p:nvPr>
            <p:custDataLst>
              <p:tags r:id="rId11"/>
            </p:custDataLst>
          </p:nvPr>
        </p:nvSpPr>
        <p:spPr bwMode="gray">
          <a:xfrm>
            <a:off x="1762125" y="3101975"/>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1B47CEF-4153-4E50-B5F7-639296831499}" type="datetime'''''''''''''''''3''0''''''''''%'''''''''''''''''">
              <a:rPr lang="en-US" altLang="en-US" sz="800" smtClean="0">
                <a:solidFill>
                  <a:schemeClr val="bg1"/>
                </a:solidFill>
              </a:rPr>
              <a:pPr algn="ctr">
                <a:spcBef>
                  <a:spcPct val="0"/>
                </a:spcBef>
              </a:pPr>
              <a:t>30%</a:t>
            </a:fld>
            <a:endParaRPr lang="en-US" sz="800">
              <a:solidFill>
                <a:schemeClr val="bg1"/>
              </a:solidFill>
            </a:endParaRPr>
          </a:p>
        </p:txBody>
      </p:sp>
      <p:sp>
        <p:nvSpPr>
          <p:cNvPr id="136" name="Text Placeholder">
            <a:extLst>
              <a:ext uri="{FF2B5EF4-FFF2-40B4-BE49-F238E27FC236}">
                <a16:creationId xmlns:a16="http://schemas.microsoft.com/office/drawing/2014/main" id="{CD11A0C2-836F-4DF9-836F-857027F22EC1}"/>
              </a:ext>
            </a:extLst>
          </p:cNvPr>
          <p:cNvSpPr>
            <a:spLocks noGrp="1"/>
          </p:cNvSpPr>
          <p:nvPr>
            <p:custDataLst>
              <p:tags r:id="rId12"/>
            </p:custDataLst>
          </p:nvPr>
        </p:nvSpPr>
        <p:spPr bwMode="gray">
          <a:xfrm>
            <a:off x="1762125" y="3335338"/>
            <a:ext cx="152400" cy="109538"/>
          </a:xfrm>
          <a:prstGeom prst="rect">
            <a:avLst/>
          </a:prstGeom>
          <a:solidFill>
            <a:schemeClr val="tx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8662E9C-D528-4ADA-81EA-7C7E477FC8B9}" type="datetime'''''''''''''''9''''''''''''''''''''''''%'''''''''''''''''''">
              <a:rPr lang="en-US" altLang="en-US" sz="800" smtClean="0">
                <a:solidFill>
                  <a:schemeClr val="bg1"/>
                </a:solidFill>
                <a:effectLst/>
              </a:rPr>
              <a:pPr algn="ctr">
                <a:spcBef>
                  <a:spcPct val="0"/>
                </a:spcBef>
              </a:pPr>
              <a:t>9%</a:t>
            </a:fld>
            <a:endParaRPr lang="en-US" sz="800">
              <a:solidFill>
                <a:schemeClr val="bg1"/>
              </a:solidFill>
            </a:endParaRPr>
          </a:p>
        </p:txBody>
      </p:sp>
      <p:sp>
        <p:nvSpPr>
          <p:cNvPr id="157" name="Text Placeholder">
            <a:extLst>
              <a:ext uri="{FF2B5EF4-FFF2-40B4-BE49-F238E27FC236}">
                <a16:creationId xmlns:a16="http://schemas.microsoft.com/office/drawing/2014/main" id="{2B3B9877-85BF-418F-8BDB-2990247C61E4}"/>
              </a:ext>
            </a:extLst>
          </p:cNvPr>
          <p:cNvSpPr>
            <a:spLocks noGrp="1"/>
          </p:cNvSpPr>
          <p:nvPr>
            <p:custDataLst>
              <p:tags r:id="rId13"/>
            </p:custDataLst>
          </p:nvPr>
        </p:nvSpPr>
        <p:spPr bwMode="auto">
          <a:xfrm>
            <a:off x="4700588"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BA8A156-80AF-4C7C-8788-51ED5F57C08E}" type="datetime'''''''''''''''2''''''0''''''''''''''''''''''''''25'">
              <a:rPr lang="en-US" altLang="en-US" sz="1000" smtClean="0"/>
              <a:pPr algn="ctr">
                <a:spcBef>
                  <a:spcPct val="0"/>
                </a:spcBef>
              </a:pPr>
              <a:t>2025</a:t>
            </a:fld>
            <a:endParaRPr lang="uk-UA" sz="1000"/>
          </a:p>
        </p:txBody>
      </p:sp>
      <p:sp>
        <p:nvSpPr>
          <p:cNvPr id="137" name="Text Placeholder">
            <a:extLst>
              <a:ext uri="{FF2B5EF4-FFF2-40B4-BE49-F238E27FC236}">
                <a16:creationId xmlns:a16="http://schemas.microsoft.com/office/drawing/2014/main" id="{1D74A7B4-3593-4EED-ACCA-D6CDCE1CBF00}"/>
              </a:ext>
            </a:extLst>
          </p:cNvPr>
          <p:cNvSpPr>
            <a:spLocks noGrp="1"/>
          </p:cNvSpPr>
          <p:nvPr>
            <p:custDataLst>
              <p:tags r:id="rId14"/>
            </p:custDataLst>
          </p:nvPr>
        </p:nvSpPr>
        <p:spPr bwMode="gray">
          <a:xfrm>
            <a:off x="1762125" y="3541713"/>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20DA389-CA0D-4F41-A9CD-32CB9DF8BD00}" type="datetime'''''''''''''''''''''''''''''''''''''''''''2''''6%'">
              <a:rPr lang="en-US" altLang="en-US" sz="800" smtClean="0">
                <a:solidFill>
                  <a:schemeClr val="bg1"/>
                </a:solidFill>
              </a:rPr>
              <a:pPr algn="ctr">
                <a:spcBef>
                  <a:spcPct val="0"/>
                </a:spcBef>
              </a:pPr>
              <a:t>26%</a:t>
            </a:fld>
            <a:endParaRPr lang="en-US" sz="800">
              <a:solidFill>
                <a:schemeClr val="bg1"/>
              </a:solidFill>
            </a:endParaRPr>
          </a:p>
        </p:txBody>
      </p:sp>
      <p:sp>
        <p:nvSpPr>
          <p:cNvPr id="141" name="Text Placeholder">
            <a:extLst>
              <a:ext uri="{FF2B5EF4-FFF2-40B4-BE49-F238E27FC236}">
                <a16:creationId xmlns:a16="http://schemas.microsoft.com/office/drawing/2014/main" id="{EC4DD480-7A97-4DD1-A0C3-4713DE18A3DF}"/>
              </a:ext>
            </a:extLst>
          </p:cNvPr>
          <p:cNvSpPr>
            <a:spLocks noGrp="1"/>
          </p:cNvSpPr>
          <p:nvPr>
            <p:custDataLst>
              <p:tags r:id="rId15"/>
            </p:custDataLst>
          </p:nvPr>
        </p:nvSpPr>
        <p:spPr bwMode="gray">
          <a:xfrm>
            <a:off x="3173413" y="30416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C3E1AC0-1723-4AD7-9FB0-D193C1F620CE}" type="datetime'''''''''''''2''''''''''''''''''''''''''9''%'''''''">
              <a:rPr lang="en-US" altLang="en-US" sz="800" smtClean="0">
                <a:solidFill>
                  <a:schemeClr val="bg1"/>
                </a:solidFill>
              </a:rPr>
              <a:pPr algn="ctr">
                <a:spcBef>
                  <a:spcPct val="0"/>
                </a:spcBef>
              </a:pPr>
              <a:t>29%</a:t>
            </a:fld>
            <a:endParaRPr lang="en-US" sz="800">
              <a:solidFill>
                <a:schemeClr val="bg1"/>
              </a:solidFill>
            </a:endParaRPr>
          </a:p>
        </p:txBody>
      </p:sp>
      <p:sp>
        <p:nvSpPr>
          <p:cNvPr id="142" name="Text Placeholder">
            <a:extLst>
              <a:ext uri="{FF2B5EF4-FFF2-40B4-BE49-F238E27FC236}">
                <a16:creationId xmlns:a16="http://schemas.microsoft.com/office/drawing/2014/main" id="{B27E163F-41E9-4953-BDFF-D5D3F6D29E3A}"/>
              </a:ext>
            </a:extLst>
          </p:cNvPr>
          <p:cNvSpPr>
            <a:spLocks noGrp="1"/>
          </p:cNvSpPr>
          <p:nvPr>
            <p:custDataLst>
              <p:tags r:id="rId16"/>
            </p:custDataLst>
          </p:nvPr>
        </p:nvSpPr>
        <p:spPr bwMode="gray">
          <a:xfrm>
            <a:off x="3173413" y="3300413"/>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2CC249E-5677-43CD-923F-7D426A1F51E3}" type="datetime'''''''''1''''''''0''''''%'''''''''''''">
              <a:rPr lang="en-US" altLang="en-US" sz="800" smtClean="0">
                <a:solidFill>
                  <a:schemeClr val="bg1"/>
                </a:solidFill>
              </a:rPr>
              <a:pPr algn="ctr">
                <a:spcBef>
                  <a:spcPct val="0"/>
                </a:spcBef>
              </a:pPr>
              <a:t>10%</a:t>
            </a:fld>
            <a:endParaRPr lang="en-US" sz="800">
              <a:solidFill>
                <a:schemeClr val="bg1"/>
              </a:solidFill>
            </a:endParaRPr>
          </a:p>
        </p:txBody>
      </p:sp>
      <p:sp>
        <p:nvSpPr>
          <p:cNvPr id="144" name="Text Placeholder">
            <a:extLst>
              <a:ext uri="{FF2B5EF4-FFF2-40B4-BE49-F238E27FC236}">
                <a16:creationId xmlns:a16="http://schemas.microsoft.com/office/drawing/2014/main" id="{0DD0F9FE-918F-4BD0-85AC-844F629A2ACA}"/>
              </a:ext>
            </a:extLst>
          </p:cNvPr>
          <p:cNvSpPr>
            <a:spLocks noGrp="1"/>
          </p:cNvSpPr>
          <p:nvPr>
            <p:custDataLst>
              <p:tags r:id="rId17"/>
            </p:custDataLst>
          </p:nvPr>
        </p:nvSpPr>
        <p:spPr bwMode="gray">
          <a:xfrm>
            <a:off x="3173413" y="353695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E062D5A-9976-46E5-ADCF-6FECC60293EA}" type="datetime'2''''''''''''6''''''''''''''%'''''''''''">
              <a:rPr lang="en-US" altLang="en-US" sz="800" smtClean="0">
                <a:solidFill>
                  <a:schemeClr val="bg1"/>
                </a:solidFill>
              </a:rPr>
              <a:pPr algn="ctr">
                <a:spcBef>
                  <a:spcPct val="0"/>
                </a:spcBef>
              </a:pPr>
              <a:t>26%</a:t>
            </a:fld>
            <a:endParaRPr lang="en-US" sz="800">
              <a:solidFill>
                <a:schemeClr val="bg1"/>
              </a:solidFill>
            </a:endParaRPr>
          </a:p>
        </p:txBody>
      </p:sp>
      <p:sp>
        <p:nvSpPr>
          <p:cNvPr id="145" name="Text Placeholder">
            <a:extLst>
              <a:ext uri="{FF2B5EF4-FFF2-40B4-BE49-F238E27FC236}">
                <a16:creationId xmlns:a16="http://schemas.microsoft.com/office/drawing/2014/main" id="{1629E466-B911-461E-9A8B-7AE4A0C8EA3C}"/>
              </a:ext>
            </a:extLst>
          </p:cNvPr>
          <p:cNvSpPr>
            <a:spLocks noGrp="1"/>
          </p:cNvSpPr>
          <p:nvPr>
            <p:custDataLst>
              <p:tags r:id="rId18"/>
            </p:custDataLst>
          </p:nvPr>
        </p:nvSpPr>
        <p:spPr bwMode="gray">
          <a:xfrm>
            <a:off x="3173413" y="3813175"/>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C6F79CF-F65C-42A2-AEE4-7BC4F634CB88}" type="datetime'1''6''''''''%'''''''''''''''''''''''''''''''''''''''''''">
              <a:rPr lang="en-US" altLang="en-US" sz="800" smtClean="0"/>
              <a:pPr algn="ctr">
                <a:spcBef>
                  <a:spcPct val="0"/>
                </a:spcBef>
              </a:pPr>
              <a:t>16%</a:t>
            </a:fld>
            <a:endParaRPr lang="en-US" sz="800"/>
          </a:p>
        </p:txBody>
      </p:sp>
      <p:sp>
        <p:nvSpPr>
          <p:cNvPr id="156" name="Text Placeholder">
            <a:extLst>
              <a:ext uri="{FF2B5EF4-FFF2-40B4-BE49-F238E27FC236}">
                <a16:creationId xmlns:a16="http://schemas.microsoft.com/office/drawing/2014/main" id="{45C516DC-8D84-4167-B2C2-CF3C98F35D71}"/>
              </a:ext>
            </a:extLst>
          </p:cNvPr>
          <p:cNvSpPr>
            <a:spLocks noGrp="1"/>
          </p:cNvSpPr>
          <p:nvPr>
            <p:custDataLst>
              <p:tags r:id="rId19"/>
            </p:custDataLst>
          </p:nvPr>
        </p:nvSpPr>
        <p:spPr bwMode="gray">
          <a:xfrm>
            <a:off x="6178550" y="3819525"/>
            <a:ext cx="152400"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B331D5A-BDC0-4E29-8BB0-4EE92F46D4C2}" type="datetime'''''''''''''9''''''''''''''''''''''''%'''''''''''">
              <a:rPr lang="en-US" altLang="en-US" sz="800" smtClean="0"/>
              <a:pPr algn="ctr">
                <a:spcBef>
                  <a:spcPct val="0"/>
                </a:spcBef>
              </a:pPr>
              <a:t>9%</a:t>
            </a:fld>
            <a:endParaRPr lang="en-US" sz="800"/>
          </a:p>
        </p:txBody>
      </p:sp>
      <p:sp>
        <p:nvSpPr>
          <p:cNvPr id="132" name="Text Placeholder">
            <a:extLst>
              <a:ext uri="{FF2B5EF4-FFF2-40B4-BE49-F238E27FC236}">
                <a16:creationId xmlns:a16="http://schemas.microsoft.com/office/drawing/2014/main" id="{435CCA2F-7AD5-4970-921C-1D3BD5C0004C}"/>
              </a:ext>
            </a:extLst>
          </p:cNvPr>
          <p:cNvSpPr>
            <a:spLocks noGrp="1"/>
          </p:cNvSpPr>
          <p:nvPr>
            <p:custDataLst>
              <p:tags r:id="rId20"/>
            </p:custDataLst>
          </p:nvPr>
        </p:nvSpPr>
        <p:spPr bwMode="gray">
          <a:xfrm>
            <a:off x="3195638" y="3951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2D5AF6B-5850-41C0-8C20-BA2F338F256C}" type="datetime'''''''''''''''''''''''5''''''''%'''''''''''''''''''''''''''">
              <a:rPr lang="en-US" altLang="en-US" sz="800" smtClean="0">
                <a:solidFill>
                  <a:schemeClr val="bg1"/>
                </a:solidFill>
                <a:effectLst/>
              </a:rPr>
              <a:pPr algn="ctr">
                <a:spcBef>
                  <a:spcPct val="0"/>
                </a:spcBef>
              </a:pPr>
              <a:t>5%</a:t>
            </a:fld>
            <a:endParaRPr lang="en-US" sz="800">
              <a:solidFill>
                <a:schemeClr val="bg1"/>
              </a:solidFill>
            </a:endParaRPr>
          </a:p>
        </p:txBody>
      </p:sp>
      <p:sp>
        <p:nvSpPr>
          <p:cNvPr id="151" name="Text Placeholder">
            <a:extLst>
              <a:ext uri="{FF2B5EF4-FFF2-40B4-BE49-F238E27FC236}">
                <a16:creationId xmlns:a16="http://schemas.microsoft.com/office/drawing/2014/main" id="{A4435B90-DE70-4F89-98F8-BF243661329E}"/>
              </a:ext>
            </a:extLst>
          </p:cNvPr>
          <p:cNvSpPr>
            <a:spLocks noGrp="1"/>
          </p:cNvSpPr>
          <p:nvPr>
            <p:custDataLst>
              <p:tags r:id="rId21"/>
            </p:custDataLst>
          </p:nvPr>
        </p:nvSpPr>
        <p:spPr bwMode="gray">
          <a:xfrm>
            <a:off x="6178550" y="3246438"/>
            <a:ext cx="152400"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53E364D-770C-47AC-8CD3-5F56E67C3D70}" type="datetime'''''''''''''''''''''''''''''''''''''''8%'''''''''''">
              <a:rPr lang="en-US" altLang="en-US" sz="800" smtClean="0">
                <a:solidFill>
                  <a:schemeClr val="bg1"/>
                </a:solidFill>
              </a:rPr>
              <a:pPr algn="ctr">
                <a:spcBef>
                  <a:spcPct val="0"/>
                </a:spcBef>
              </a:pPr>
              <a:t>8%</a:t>
            </a:fld>
            <a:endParaRPr lang="en-US" sz="800">
              <a:solidFill>
                <a:schemeClr val="bg1"/>
              </a:solidFill>
            </a:endParaRPr>
          </a:p>
        </p:txBody>
      </p:sp>
      <p:sp>
        <p:nvSpPr>
          <p:cNvPr id="148" name="Text Placeholder">
            <a:extLst>
              <a:ext uri="{FF2B5EF4-FFF2-40B4-BE49-F238E27FC236}">
                <a16:creationId xmlns:a16="http://schemas.microsoft.com/office/drawing/2014/main" id="{A0DD3F26-AAD9-4214-89C1-1E7DC54ECC80}"/>
              </a:ext>
            </a:extLst>
          </p:cNvPr>
          <p:cNvSpPr>
            <a:spLocks noGrp="1"/>
          </p:cNvSpPr>
          <p:nvPr>
            <p:custDataLst>
              <p:tags r:id="rId22"/>
            </p:custDataLst>
          </p:nvPr>
        </p:nvSpPr>
        <p:spPr bwMode="gray">
          <a:xfrm>
            <a:off x="4722813" y="26114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70486E5-E5DF-4D9C-BA0A-5B007164FD9E}" type="datetime'''''''''''''''''''''''''''''''1''''''''''6''''''''%'''''">
              <a:rPr lang="en-US" altLang="en-US" sz="800" smtClean="0"/>
              <a:pPr algn="ctr">
                <a:spcBef>
                  <a:spcPct val="0"/>
                </a:spcBef>
              </a:pPr>
              <a:t>16%</a:t>
            </a:fld>
            <a:endParaRPr lang="en-US" sz="800"/>
          </a:p>
        </p:txBody>
      </p:sp>
      <p:sp>
        <p:nvSpPr>
          <p:cNvPr id="138" name="Text Placeholder">
            <a:extLst>
              <a:ext uri="{FF2B5EF4-FFF2-40B4-BE49-F238E27FC236}">
                <a16:creationId xmlns:a16="http://schemas.microsoft.com/office/drawing/2014/main" id="{5405D840-B1C9-4390-89CE-BEF256573C8C}"/>
              </a:ext>
            </a:extLst>
          </p:cNvPr>
          <p:cNvSpPr>
            <a:spLocks noGrp="1"/>
          </p:cNvSpPr>
          <p:nvPr>
            <p:custDataLst>
              <p:tags r:id="rId23"/>
            </p:custDataLst>
          </p:nvPr>
        </p:nvSpPr>
        <p:spPr bwMode="gray">
          <a:xfrm>
            <a:off x="4722813" y="3816350"/>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7977A44-2F48-487D-8C8A-3FC3A39DD5DB}" type="datetime'''''''''''''''''''''''''1''''''''''''''''''''2''''''''''%'''''">
              <a:rPr lang="en-US" altLang="en-US" sz="800" smtClean="0"/>
              <a:pPr algn="ctr">
                <a:spcBef>
                  <a:spcPct val="0"/>
                </a:spcBef>
              </a:pPr>
              <a:t>12%</a:t>
            </a:fld>
            <a:endParaRPr lang="en-US" sz="800"/>
          </a:p>
        </p:txBody>
      </p:sp>
      <p:sp>
        <p:nvSpPr>
          <p:cNvPr id="149" name="Text Placeholder">
            <a:extLst>
              <a:ext uri="{FF2B5EF4-FFF2-40B4-BE49-F238E27FC236}">
                <a16:creationId xmlns:a16="http://schemas.microsoft.com/office/drawing/2014/main" id="{D68856F6-AF5D-4157-9822-40173DC90D93}"/>
              </a:ext>
            </a:extLst>
          </p:cNvPr>
          <p:cNvSpPr>
            <a:spLocks noGrp="1"/>
          </p:cNvSpPr>
          <p:nvPr>
            <p:custDataLst>
              <p:tags r:id="rId24"/>
            </p:custDataLst>
          </p:nvPr>
        </p:nvSpPr>
        <p:spPr bwMode="gray">
          <a:xfrm>
            <a:off x="4722813" y="2974975"/>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C08ABDB-E69E-4D49-86AF-DC6B8A94AE31}" type="datetime'''''''''''''''''''''''''''''''''3''''''''2''''''''''%'''''">
              <a:rPr lang="en-US" altLang="en-US" sz="800" smtClean="0">
                <a:solidFill>
                  <a:schemeClr val="bg1"/>
                </a:solidFill>
              </a:rPr>
              <a:pPr algn="ctr">
                <a:spcBef>
                  <a:spcPct val="0"/>
                </a:spcBef>
              </a:pPr>
              <a:t>32%</a:t>
            </a:fld>
            <a:endParaRPr lang="en-US" sz="800">
              <a:solidFill>
                <a:schemeClr val="bg1"/>
              </a:solidFill>
            </a:endParaRPr>
          </a:p>
        </p:txBody>
      </p:sp>
      <p:sp>
        <p:nvSpPr>
          <p:cNvPr id="152" name="Text Placeholder">
            <a:extLst>
              <a:ext uri="{FF2B5EF4-FFF2-40B4-BE49-F238E27FC236}">
                <a16:creationId xmlns:a16="http://schemas.microsoft.com/office/drawing/2014/main" id="{985BE855-6BBE-4608-A758-A5C6B9A99DDB}"/>
              </a:ext>
            </a:extLst>
          </p:cNvPr>
          <p:cNvSpPr>
            <a:spLocks noGrp="1"/>
          </p:cNvSpPr>
          <p:nvPr>
            <p:custDataLst>
              <p:tags r:id="rId25"/>
            </p:custDataLst>
          </p:nvPr>
        </p:nvSpPr>
        <p:spPr bwMode="gray">
          <a:xfrm>
            <a:off x="4722813" y="353695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F35ABD5-46D7-4220-A7CE-D69487867714}" type="datetime'''''''''''''''''''''''''''''''''''''25''''''%'''''''''''''">
              <a:rPr lang="en-US" altLang="en-US" sz="800" smtClean="0">
                <a:solidFill>
                  <a:schemeClr val="bg1"/>
                </a:solidFill>
              </a:rPr>
              <a:pPr algn="ctr">
                <a:spcBef>
                  <a:spcPct val="0"/>
                </a:spcBef>
              </a:pPr>
              <a:t>25%</a:t>
            </a:fld>
            <a:endParaRPr lang="en-US" sz="800">
              <a:solidFill>
                <a:schemeClr val="bg1"/>
              </a:solidFill>
            </a:endParaRPr>
          </a:p>
        </p:txBody>
      </p:sp>
      <p:sp>
        <p:nvSpPr>
          <p:cNvPr id="155" name="Text Placeholder">
            <a:extLst>
              <a:ext uri="{FF2B5EF4-FFF2-40B4-BE49-F238E27FC236}">
                <a16:creationId xmlns:a16="http://schemas.microsoft.com/office/drawing/2014/main" id="{E76E18A1-49FC-4F7D-80D9-E7634AE4C37D}"/>
              </a:ext>
            </a:extLst>
          </p:cNvPr>
          <p:cNvSpPr>
            <a:spLocks noGrp="1"/>
          </p:cNvSpPr>
          <p:nvPr>
            <p:custDataLst>
              <p:tags r:id="rId26"/>
            </p:custDataLst>
          </p:nvPr>
        </p:nvSpPr>
        <p:spPr bwMode="gray">
          <a:xfrm>
            <a:off x="4745038" y="3946525"/>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B2EB8B0-FEB7-4E2A-B62B-81A116B2C4EC}" type="datetime'''''5''''''''''''''''''''''''''''''''''''''''%'''''''''''''''">
              <a:rPr lang="en-US" altLang="en-US" sz="800" smtClean="0">
                <a:solidFill>
                  <a:schemeClr val="bg1"/>
                </a:solidFill>
                <a:effectLst/>
              </a:rPr>
              <a:pPr algn="ctr">
                <a:spcBef>
                  <a:spcPct val="0"/>
                </a:spcBef>
              </a:pPr>
              <a:t>5%</a:t>
            </a:fld>
            <a:endParaRPr lang="en-US" sz="800">
              <a:solidFill>
                <a:schemeClr val="bg1"/>
              </a:solidFill>
            </a:endParaRPr>
          </a:p>
        </p:txBody>
      </p:sp>
      <p:sp>
        <p:nvSpPr>
          <p:cNvPr id="154" name="Text Placeholder">
            <a:extLst>
              <a:ext uri="{FF2B5EF4-FFF2-40B4-BE49-F238E27FC236}">
                <a16:creationId xmlns:a16="http://schemas.microsoft.com/office/drawing/2014/main" id="{C36F898D-4BD9-40F5-A86C-4E97F7591992}"/>
              </a:ext>
            </a:extLst>
          </p:cNvPr>
          <p:cNvSpPr>
            <a:spLocks noGrp="1"/>
          </p:cNvSpPr>
          <p:nvPr>
            <p:custDataLst>
              <p:tags r:id="rId27"/>
            </p:custDataLst>
          </p:nvPr>
        </p:nvSpPr>
        <p:spPr bwMode="gray">
          <a:xfrm>
            <a:off x="6132513" y="2427288"/>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F7CEAEE-61DB-40E5-A5A6-4DF1038003A0}" type="datetime'''''''''''''''''''19''''''''''''''''%'''''''''''''''''''">
              <a:rPr lang="en-US" altLang="en-US" sz="800" smtClean="0"/>
              <a:pPr algn="ctr">
                <a:spcBef>
                  <a:spcPct val="0"/>
                </a:spcBef>
              </a:pPr>
              <a:t>19%</a:t>
            </a:fld>
            <a:endParaRPr lang="en-US" sz="800"/>
          </a:p>
        </p:txBody>
      </p:sp>
      <p:sp>
        <p:nvSpPr>
          <p:cNvPr id="158" name="Text Placeholder">
            <a:extLst>
              <a:ext uri="{FF2B5EF4-FFF2-40B4-BE49-F238E27FC236}">
                <a16:creationId xmlns:a16="http://schemas.microsoft.com/office/drawing/2014/main" id="{B1EF61F6-83A0-4962-B25F-F4269EFC5535}"/>
              </a:ext>
            </a:extLst>
          </p:cNvPr>
          <p:cNvSpPr>
            <a:spLocks noGrp="1"/>
          </p:cNvSpPr>
          <p:nvPr>
            <p:custDataLst>
              <p:tags r:id="rId28"/>
            </p:custDataLst>
          </p:nvPr>
        </p:nvSpPr>
        <p:spPr bwMode="gray">
          <a:xfrm>
            <a:off x="6132513" y="2884488"/>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4A8A8CC-DB34-4773-8E64-197128771E06}" type="datetime'''''''3''''''''''''''''4''''''''''''%'">
              <a:rPr lang="en-US" altLang="en-US" sz="800" smtClean="0">
                <a:solidFill>
                  <a:schemeClr val="bg1"/>
                </a:solidFill>
              </a:rPr>
              <a:pPr algn="ctr">
                <a:spcBef>
                  <a:spcPct val="0"/>
                </a:spcBef>
              </a:pPr>
              <a:t>34%</a:t>
            </a:fld>
            <a:endParaRPr lang="en-US" sz="800">
              <a:solidFill>
                <a:schemeClr val="bg1"/>
              </a:solidFill>
            </a:endParaRPr>
          </a:p>
        </p:txBody>
      </p:sp>
      <p:sp>
        <p:nvSpPr>
          <p:cNvPr id="160" name="Text Placeholder">
            <a:extLst>
              <a:ext uri="{FF2B5EF4-FFF2-40B4-BE49-F238E27FC236}">
                <a16:creationId xmlns:a16="http://schemas.microsoft.com/office/drawing/2014/main" id="{C0A72D8C-12CD-416D-AFA6-5BACED2E9854}"/>
              </a:ext>
            </a:extLst>
          </p:cNvPr>
          <p:cNvSpPr>
            <a:spLocks noGrp="1"/>
          </p:cNvSpPr>
          <p:nvPr>
            <p:custDataLst>
              <p:tags r:id="rId29"/>
            </p:custDataLst>
          </p:nvPr>
        </p:nvSpPr>
        <p:spPr bwMode="gray">
          <a:xfrm>
            <a:off x="6132513" y="352742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FD56B1B-5453-46BA-BAF1-0653EC9D3379}" type="datetime'''''''''''''''''''''''''''''''''2''5''%'''''''''''''''''''''">
              <a:rPr lang="en-US" altLang="en-US" sz="800" smtClean="0">
                <a:solidFill>
                  <a:schemeClr val="bg1"/>
                </a:solidFill>
              </a:rPr>
              <a:pPr algn="ctr">
                <a:spcBef>
                  <a:spcPct val="0"/>
                </a:spcBef>
              </a:pPr>
              <a:t>25%</a:t>
            </a:fld>
            <a:endParaRPr lang="en-US" sz="800">
              <a:solidFill>
                <a:schemeClr val="bg1"/>
              </a:solidFill>
            </a:endParaRPr>
          </a:p>
        </p:txBody>
      </p:sp>
      <p:sp>
        <p:nvSpPr>
          <p:cNvPr id="161" name="Text Placeholder">
            <a:extLst>
              <a:ext uri="{FF2B5EF4-FFF2-40B4-BE49-F238E27FC236}">
                <a16:creationId xmlns:a16="http://schemas.microsoft.com/office/drawing/2014/main" id="{C2EAE570-52C1-400A-9FFF-E26A69409872}"/>
              </a:ext>
            </a:extLst>
          </p:cNvPr>
          <p:cNvSpPr>
            <a:spLocks noGrp="1"/>
          </p:cNvSpPr>
          <p:nvPr>
            <p:custDataLst>
              <p:tags r:id="rId30"/>
            </p:custDataLst>
          </p:nvPr>
        </p:nvSpPr>
        <p:spPr bwMode="gray">
          <a:xfrm>
            <a:off x="6178550" y="3941763"/>
            <a:ext cx="152400" cy="109538"/>
          </a:xfrm>
          <a:prstGeom prst="rect">
            <a:avLst/>
          </a:prstGeom>
          <a:noFill/>
          <a:ln>
            <a:noFill/>
          </a:ln>
          <a:effectLst/>
          <a:extLst>
            <a:ext uri="{909E8E84-426E-40DD-AFC4-6F175D3DCCD1}">
              <a14:hiddenFill xmlns:a14="http://schemas.microsoft.com/office/drawing/2010/main">
                <a:solidFill>
                  <a:srgbClr val="1A84BD"/>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75EECE9-B54C-496A-9946-D989401D6D9E}" type="datetime'''5''''''''''''''''''''''''''''''''''''''''''''%'''''">
              <a:rPr lang="en-US" altLang="en-US" sz="800" smtClean="0">
                <a:solidFill>
                  <a:schemeClr val="bg1"/>
                </a:solidFill>
              </a:rPr>
              <a:pPr algn="ctr">
                <a:spcBef>
                  <a:spcPct val="0"/>
                </a:spcBef>
              </a:pPr>
              <a:t>5%</a:t>
            </a:fld>
            <a:endParaRPr lang="en-US" sz="800">
              <a:solidFill>
                <a:schemeClr val="bg1"/>
              </a:solidFill>
            </a:endParaRPr>
          </a:p>
        </p:txBody>
      </p:sp>
      <p:sp>
        <p:nvSpPr>
          <p:cNvPr id="162" name="Text Placeholder">
            <a:extLst>
              <a:ext uri="{FF2B5EF4-FFF2-40B4-BE49-F238E27FC236}">
                <a16:creationId xmlns:a16="http://schemas.microsoft.com/office/drawing/2014/main" id="{12A574A0-F1CA-4EB1-AC43-6E5927308EBA}"/>
              </a:ext>
            </a:extLst>
          </p:cNvPr>
          <p:cNvSpPr>
            <a:spLocks noGrp="1"/>
          </p:cNvSpPr>
          <p:nvPr>
            <p:custDataLst>
              <p:tags r:id="rId31"/>
            </p:custDataLst>
          </p:nvPr>
        </p:nvSpPr>
        <p:spPr bwMode="auto">
          <a:xfrm>
            <a:off x="6251575"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DEA6167-76A3-4D47-AD32-7149A16321E2}" type="datetime'''''''2''0''''''''''''''''''''''''3''''''''''''''0'">
              <a:rPr lang="en-US" altLang="en-US" sz="1000" smtClean="0"/>
              <a:pPr algn="ctr">
                <a:spcBef>
                  <a:spcPct val="0"/>
                </a:spcBef>
              </a:pPr>
              <a:t>2030</a:t>
            </a:fld>
            <a:endParaRPr lang="uk-UA" sz="1000"/>
          </a:p>
        </p:txBody>
      </p:sp>
      <p:sp>
        <p:nvSpPr>
          <p:cNvPr id="143" name="Text Placeholder">
            <a:extLst>
              <a:ext uri="{FF2B5EF4-FFF2-40B4-BE49-F238E27FC236}">
                <a16:creationId xmlns:a16="http://schemas.microsoft.com/office/drawing/2014/main" id="{D74668E3-E90C-464F-AD02-1FBD02091E16}"/>
              </a:ext>
            </a:extLst>
          </p:cNvPr>
          <p:cNvSpPr>
            <a:spLocks noGrp="1"/>
          </p:cNvSpPr>
          <p:nvPr>
            <p:custDataLst>
              <p:tags r:id="rId32"/>
            </p:custDataLst>
          </p:nvPr>
        </p:nvSpPr>
        <p:spPr bwMode="gray">
          <a:xfrm>
            <a:off x="1616075" y="2673350"/>
            <a:ext cx="209550"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EB6EC42-9391-44C2-97A4-8AFD94CE6DB7}" type="datetime'''''''''''''''''1''''''''8''''8'''''''''''''''''''''''">
              <a:rPr lang="en-US" altLang="en-US" sz="1000" b="1" smtClean="0"/>
              <a:pPr algn="ctr">
                <a:spcBef>
                  <a:spcPct val="0"/>
                </a:spcBef>
              </a:pPr>
              <a:t>188</a:t>
            </a:fld>
            <a:endParaRPr lang="uk-UA" sz="1000" b="1"/>
          </a:p>
        </p:txBody>
      </p:sp>
      <p:sp>
        <p:nvSpPr>
          <p:cNvPr id="163" name="Text Placeholder">
            <a:extLst>
              <a:ext uri="{FF2B5EF4-FFF2-40B4-BE49-F238E27FC236}">
                <a16:creationId xmlns:a16="http://schemas.microsoft.com/office/drawing/2014/main" id="{750D6950-3D4A-4D20-91AB-E28B5C496FAE}"/>
              </a:ext>
            </a:extLst>
          </p:cNvPr>
          <p:cNvSpPr>
            <a:spLocks noGrp="1"/>
          </p:cNvSpPr>
          <p:nvPr>
            <p:custDataLst>
              <p:tags r:id="rId33"/>
            </p:custDataLst>
          </p:nvPr>
        </p:nvSpPr>
        <p:spPr bwMode="gray">
          <a:xfrm>
            <a:off x="3167063" y="2570163"/>
            <a:ext cx="209550"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5411A41-898E-49A6-A1BB-63AA7C7CDF2D}" type="datetime'''2''''''''''''''''0''''''''''''''4'''''''''''''''''''''''''">
              <a:rPr lang="en-US" altLang="en-US" sz="1000" b="1" smtClean="0"/>
              <a:pPr algn="ctr">
                <a:spcBef>
                  <a:spcPct val="0"/>
                </a:spcBef>
              </a:pPr>
              <a:t>204</a:t>
            </a:fld>
            <a:endParaRPr lang="uk-UA" sz="1000" b="1"/>
          </a:p>
        </p:txBody>
      </p:sp>
      <p:sp>
        <p:nvSpPr>
          <p:cNvPr id="147" name="Text Placeholder">
            <a:extLst>
              <a:ext uri="{FF2B5EF4-FFF2-40B4-BE49-F238E27FC236}">
                <a16:creationId xmlns:a16="http://schemas.microsoft.com/office/drawing/2014/main" id="{A90F34BA-F257-4DDC-9FCC-CD94E4C1B264}"/>
              </a:ext>
            </a:extLst>
          </p:cNvPr>
          <p:cNvSpPr>
            <a:spLocks noGrp="1"/>
          </p:cNvSpPr>
          <p:nvPr>
            <p:custDataLst>
              <p:tags r:id="rId34"/>
            </p:custDataLst>
          </p:nvPr>
        </p:nvSpPr>
        <p:spPr bwMode="gray">
          <a:xfrm>
            <a:off x="4583113" y="2390775"/>
            <a:ext cx="477838"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000" b="1"/>
              <a:t>225-244</a:t>
            </a:r>
            <a:r>
              <a:rPr lang="en-US" altLang="en-US" sz="1000" b="1" baseline="30000"/>
              <a:t>1)</a:t>
            </a:r>
            <a:endParaRPr lang="uk-UA" sz="1000" b="1"/>
          </a:p>
        </p:txBody>
      </p:sp>
      <p:sp>
        <p:nvSpPr>
          <p:cNvPr id="159" name="Text Placeholder">
            <a:extLst>
              <a:ext uri="{FF2B5EF4-FFF2-40B4-BE49-F238E27FC236}">
                <a16:creationId xmlns:a16="http://schemas.microsoft.com/office/drawing/2014/main" id="{69CFE13D-53B5-43C2-A425-BDDEECA5BB49}"/>
              </a:ext>
            </a:extLst>
          </p:cNvPr>
          <p:cNvSpPr>
            <a:spLocks noGrp="1"/>
          </p:cNvSpPr>
          <p:nvPr>
            <p:custDataLst>
              <p:tags r:id="rId35"/>
            </p:custDataLst>
          </p:nvPr>
        </p:nvSpPr>
        <p:spPr bwMode="gray">
          <a:xfrm>
            <a:off x="6134100" y="2166938"/>
            <a:ext cx="4778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sz="1000" b="1"/>
              <a:t>254-290</a:t>
            </a:r>
            <a:r>
              <a:rPr lang="en-US" sz="1000" b="1" baseline="30000"/>
              <a:t>1)</a:t>
            </a:r>
            <a:endParaRPr lang="uk-UA" sz="1000" b="1"/>
          </a:p>
        </p:txBody>
      </p:sp>
      <p:graphicFrame>
        <p:nvGraphicFramePr>
          <p:cNvPr id="111" name="Chart 110">
            <a:extLst>
              <a:ext uri="{FF2B5EF4-FFF2-40B4-BE49-F238E27FC236}">
                <a16:creationId xmlns:a16="http://schemas.microsoft.com/office/drawing/2014/main" id="{CFCD8823-CF51-46E8-B0C8-75A72FF4601D}"/>
              </a:ext>
            </a:extLst>
          </p:cNvPr>
          <p:cNvGraphicFramePr/>
          <p:nvPr>
            <p:custDataLst>
              <p:tags r:id="rId36"/>
            </p:custDataLst>
            <p:extLst>
              <p:ext uri="{D42A27DB-BD31-4B8C-83A1-F6EECF244321}">
                <p14:modId xmlns:p14="http://schemas.microsoft.com/office/powerpoint/2010/main" val="2207683862"/>
              </p:ext>
            </p:extLst>
          </p:nvPr>
        </p:nvGraphicFramePr>
        <p:xfrm>
          <a:off x="1638300" y="4398963"/>
          <a:ext cx="4816475" cy="1885950"/>
        </p:xfrm>
        <a:graphic>
          <a:graphicData uri="http://schemas.openxmlformats.org/drawingml/2006/chart">
            <c:chart xmlns:c="http://schemas.openxmlformats.org/drawingml/2006/chart" xmlns:r="http://schemas.openxmlformats.org/officeDocument/2006/relationships" r:id="rId80"/>
          </a:graphicData>
        </a:graphic>
      </p:graphicFrame>
      <p:sp>
        <p:nvSpPr>
          <p:cNvPr id="172" name="Text Placeholder">
            <a:extLst>
              <a:ext uri="{FF2B5EF4-FFF2-40B4-BE49-F238E27FC236}">
                <a16:creationId xmlns:a16="http://schemas.microsoft.com/office/drawing/2014/main" id="{4CC0270C-4C08-4CAB-8350-060181B0B4D7}"/>
              </a:ext>
            </a:extLst>
          </p:cNvPr>
          <p:cNvSpPr>
            <a:spLocks noGrp="1"/>
          </p:cNvSpPr>
          <p:nvPr>
            <p:custDataLst>
              <p:tags r:id="rId37"/>
            </p:custDataLst>
          </p:nvPr>
        </p:nvSpPr>
        <p:spPr bwMode="gray">
          <a:xfrm>
            <a:off x="1762125" y="5834063"/>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77A062B-4EB8-47FC-A528-F0BBEC004AA7}" type="datetime'''''''''''''''''''''2''''''5''''''''''''''''''''''''%'''''''''">
              <a:rPr lang="en-US" altLang="en-US" sz="800" smtClean="0">
                <a:solidFill>
                  <a:schemeClr val="bg1"/>
                </a:solidFill>
              </a:rPr>
              <a:pPr algn="ctr">
                <a:spcBef>
                  <a:spcPct val="0"/>
                </a:spcBef>
              </a:pPr>
              <a:t>25%</a:t>
            </a:fld>
            <a:endParaRPr lang="en-US" sz="800">
              <a:solidFill>
                <a:schemeClr val="bg1"/>
              </a:solidFill>
            </a:endParaRPr>
          </a:p>
        </p:txBody>
      </p:sp>
      <p:sp>
        <p:nvSpPr>
          <p:cNvPr id="183" name="Text Placeholder">
            <a:extLst>
              <a:ext uri="{FF2B5EF4-FFF2-40B4-BE49-F238E27FC236}">
                <a16:creationId xmlns:a16="http://schemas.microsoft.com/office/drawing/2014/main" id="{947AD410-DA2D-4A34-983C-987A5D8DC21C}"/>
              </a:ext>
            </a:extLst>
          </p:cNvPr>
          <p:cNvSpPr>
            <a:spLocks noGrp="1"/>
          </p:cNvSpPr>
          <p:nvPr>
            <p:custDataLst>
              <p:tags r:id="rId38"/>
            </p:custDataLst>
          </p:nvPr>
        </p:nvSpPr>
        <p:spPr bwMode="auto">
          <a:xfrm>
            <a:off x="1600200"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E72BBD0-B278-4AFD-BDB5-AF1A5F1993C5}" type="datetime'2''''''0''''''''''1''''''''''''''''''''''''5'">
              <a:rPr lang="en-US" altLang="en-US" sz="1000" smtClean="0"/>
              <a:pPr algn="ctr">
                <a:spcBef>
                  <a:spcPct val="0"/>
                </a:spcBef>
              </a:pPr>
              <a:t>2015</a:t>
            </a:fld>
            <a:endParaRPr lang="uk-UA" sz="1000"/>
          </a:p>
        </p:txBody>
      </p:sp>
      <p:sp>
        <p:nvSpPr>
          <p:cNvPr id="226" name="Text Placeholder">
            <a:extLst>
              <a:ext uri="{FF2B5EF4-FFF2-40B4-BE49-F238E27FC236}">
                <a16:creationId xmlns:a16="http://schemas.microsoft.com/office/drawing/2014/main" id="{D3192CB6-C95F-41E8-9D8A-9D1C3728D29D}"/>
              </a:ext>
            </a:extLst>
          </p:cNvPr>
          <p:cNvSpPr>
            <a:spLocks noGrp="1"/>
          </p:cNvSpPr>
          <p:nvPr>
            <p:custDataLst>
              <p:tags r:id="rId39"/>
            </p:custDataLst>
          </p:nvPr>
        </p:nvSpPr>
        <p:spPr bwMode="gray">
          <a:xfrm>
            <a:off x="6188075" y="596582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244D1608-6CE8-4B56-912B-BBF0BAD5E4EF}" type="datetime'''''5''%'''''''''''''''''''''''''''''''''''''''''''''''''">
              <a:rPr lang="en-US" altLang="en-US" sz="800" smtClean="0">
                <a:effectLst/>
              </a:rPr>
              <a:pPr>
                <a:spcBef>
                  <a:spcPct val="0"/>
                </a:spcBef>
              </a:pPr>
              <a:t>5%</a:t>
            </a:fld>
            <a:endParaRPr lang="en-US" sz="800"/>
          </a:p>
        </p:txBody>
      </p:sp>
      <p:sp>
        <p:nvSpPr>
          <p:cNvPr id="180" name="Text Placeholder">
            <a:extLst>
              <a:ext uri="{FF2B5EF4-FFF2-40B4-BE49-F238E27FC236}">
                <a16:creationId xmlns:a16="http://schemas.microsoft.com/office/drawing/2014/main" id="{F4F69F42-C514-4D97-8936-A796D64A2B10}"/>
              </a:ext>
            </a:extLst>
          </p:cNvPr>
          <p:cNvSpPr>
            <a:spLocks noGrp="1"/>
          </p:cNvSpPr>
          <p:nvPr>
            <p:custDataLst>
              <p:tags r:id="rId40"/>
            </p:custDataLst>
          </p:nvPr>
        </p:nvSpPr>
        <p:spPr bwMode="gray">
          <a:xfrm>
            <a:off x="1762125" y="6118225"/>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FC35158-D0B9-4B7E-8524-18D71B39920A}" type="datetime'''''''''''''''''''''''''''''''4''''''''''''''''''''%'''">
              <a:rPr lang="en-US" altLang="en-US" sz="800" smtClean="0">
                <a:solidFill>
                  <a:schemeClr val="bg1"/>
                </a:solidFill>
                <a:effectLst/>
              </a:rPr>
              <a:pPr algn="ctr">
                <a:spcBef>
                  <a:spcPct val="0"/>
                </a:spcBef>
              </a:pPr>
              <a:t>4%</a:t>
            </a:fld>
            <a:endParaRPr lang="en-US" sz="800">
              <a:solidFill>
                <a:schemeClr val="bg1"/>
              </a:solidFill>
            </a:endParaRPr>
          </a:p>
        </p:txBody>
      </p:sp>
      <p:sp>
        <p:nvSpPr>
          <p:cNvPr id="170" name="Text Placeholder">
            <a:extLst>
              <a:ext uri="{FF2B5EF4-FFF2-40B4-BE49-F238E27FC236}">
                <a16:creationId xmlns:a16="http://schemas.microsoft.com/office/drawing/2014/main" id="{C273FD80-642C-4EE8-9192-124EFE0FF6E7}"/>
              </a:ext>
            </a:extLst>
          </p:cNvPr>
          <p:cNvSpPr>
            <a:spLocks noGrp="1"/>
          </p:cNvSpPr>
          <p:nvPr>
            <p:custDataLst>
              <p:tags r:id="rId41"/>
            </p:custDataLst>
          </p:nvPr>
        </p:nvSpPr>
        <p:spPr bwMode="gray">
          <a:xfrm>
            <a:off x="1762125" y="48974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0FDFE8B-E6B3-47EE-A5BC-57B5DB61A062}" type="datetime'''''''''2''''''''''''''''''''''''''''''''''''2''''%'''''''''''">
              <a:rPr lang="en-US" altLang="en-US" sz="800" smtClean="0"/>
              <a:pPr algn="ctr">
                <a:spcBef>
                  <a:spcPct val="0"/>
                </a:spcBef>
              </a:pPr>
              <a:t>22%</a:t>
            </a:fld>
            <a:endParaRPr lang="en-US" sz="800"/>
          </a:p>
        </p:txBody>
      </p:sp>
      <p:sp>
        <p:nvSpPr>
          <p:cNvPr id="191" name="Text Placeholder">
            <a:extLst>
              <a:ext uri="{FF2B5EF4-FFF2-40B4-BE49-F238E27FC236}">
                <a16:creationId xmlns:a16="http://schemas.microsoft.com/office/drawing/2014/main" id="{26634124-7657-42EC-AB56-3C66804FC37D}"/>
              </a:ext>
            </a:extLst>
          </p:cNvPr>
          <p:cNvSpPr>
            <a:spLocks noGrp="1"/>
          </p:cNvSpPr>
          <p:nvPr>
            <p:custDataLst>
              <p:tags r:id="rId42"/>
            </p:custDataLst>
          </p:nvPr>
        </p:nvSpPr>
        <p:spPr bwMode="gray">
          <a:xfrm>
            <a:off x="3173413" y="48339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69F4BDF-7AB1-40A4-BB2A-AF8B3E2EDE91}" type="datetime'''''''''''''''''''''''2''''7''%'''''''''''''''''''''''">
              <a:rPr lang="en-US" altLang="en-US" sz="800" smtClean="0"/>
              <a:pPr algn="ctr">
                <a:spcBef>
                  <a:spcPct val="0"/>
                </a:spcBef>
              </a:pPr>
              <a:t>27%</a:t>
            </a:fld>
            <a:endParaRPr lang="en-US" sz="800"/>
          </a:p>
        </p:txBody>
      </p:sp>
      <p:sp>
        <p:nvSpPr>
          <p:cNvPr id="165" name="Text Placeholder">
            <a:extLst>
              <a:ext uri="{FF2B5EF4-FFF2-40B4-BE49-F238E27FC236}">
                <a16:creationId xmlns:a16="http://schemas.microsoft.com/office/drawing/2014/main" id="{5B2944CD-FE5C-4019-A5BF-934A6E72B24B}"/>
              </a:ext>
            </a:extLst>
          </p:cNvPr>
          <p:cNvSpPr>
            <a:spLocks noGrp="1"/>
          </p:cNvSpPr>
          <p:nvPr>
            <p:custDataLst>
              <p:tags r:id="rId43"/>
            </p:custDataLst>
          </p:nvPr>
        </p:nvSpPr>
        <p:spPr bwMode="gray">
          <a:xfrm>
            <a:off x="1762125" y="5105400"/>
            <a:ext cx="152400"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312ACF9-9361-4B02-9404-A6122D21CDF6}" type="datetime'''''7''''''%'''">
              <a:rPr lang="en-US" altLang="en-US" sz="800" smtClean="0">
                <a:solidFill>
                  <a:schemeClr val="bg1"/>
                </a:solidFill>
              </a:rPr>
              <a:pPr algn="ctr">
                <a:spcBef>
                  <a:spcPct val="0"/>
                </a:spcBef>
              </a:pPr>
              <a:t>7%</a:t>
            </a:fld>
            <a:endParaRPr lang="en-US" sz="800">
              <a:solidFill>
                <a:schemeClr val="bg1"/>
              </a:solidFill>
            </a:endParaRPr>
          </a:p>
        </p:txBody>
      </p:sp>
      <p:sp>
        <p:nvSpPr>
          <p:cNvPr id="171" name="Text Placeholder">
            <a:extLst>
              <a:ext uri="{FF2B5EF4-FFF2-40B4-BE49-F238E27FC236}">
                <a16:creationId xmlns:a16="http://schemas.microsoft.com/office/drawing/2014/main" id="{6EB650A2-064A-4B88-8FB8-3EB6A2E332D2}"/>
              </a:ext>
            </a:extLst>
          </p:cNvPr>
          <p:cNvSpPr>
            <a:spLocks noGrp="1"/>
          </p:cNvSpPr>
          <p:nvPr>
            <p:custDataLst>
              <p:tags r:id="rId44"/>
            </p:custDataLst>
          </p:nvPr>
        </p:nvSpPr>
        <p:spPr bwMode="gray">
          <a:xfrm>
            <a:off x="1762125" y="540861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1C51BC4-9C94-4CDA-A47D-7B589E115370}" type="datetime'''3''6''''''''''''''''''''''''%'''''''''''''''''''''''''''''''">
              <a:rPr lang="en-US" altLang="en-US" sz="800" smtClean="0">
                <a:solidFill>
                  <a:schemeClr val="bg1"/>
                </a:solidFill>
              </a:rPr>
              <a:pPr algn="ctr">
                <a:spcBef>
                  <a:spcPct val="0"/>
                </a:spcBef>
              </a:pPr>
              <a:t>36%</a:t>
            </a:fld>
            <a:endParaRPr lang="en-US" sz="800">
              <a:solidFill>
                <a:schemeClr val="bg1"/>
              </a:solidFill>
            </a:endParaRPr>
          </a:p>
        </p:txBody>
      </p:sp>
      <p:sp>
        <p:nvSpPr>
          <p:cNvPr id="222" name="Text Placeholder">
            <a:extLst>
              <a:ext uri="{FF2B5EF4-FFF2-40B4-BE49-F238E27FC236}">
                <a16:creationId xmlns:a16="http://schemas.microsoft.com/office/drawing/2014/main" id="{A1785227-A0CB-41D4-8C74-741768BB8C68}"/>
              </a:ext>
            </a:extLst>
          </p:cNvPr>
          <p:cNvSpPr>
            <a:spLocks noGrp="1"/>
          </p:cNvSpPr>
          <p:nvPr>
            <p:custDataLst>
              <p:tags r:id="rId45"/>
            </p:custDataLst>
          </p:nvPr>
        </p:nvSpPr>
        <p:spPr bwMode="gray">
          <a:xfrm>
            <a:off x="1573213" y="4645025"/>
            <a:ext cx="295275"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3A345B5-51FB-4D37-B00C-02820F0E6394}" type="datetime'2'''',''''''''''''''''''''1''''''''''4''''''''''''8'''">
              <a:rPr lang="en-US" altLang="en-US" sz="1000" b="1" smtClean="0"/>
              <a:pPr algn="ctr">
                <a:spcBef>
                  <a:spcPct val="0"/>
                </a:spcBef>
              </a:pPr>
              <a:t>2,148</a:t>
            </a:fld>
            <a:endParaRPr lang="uk-UA" sz="1000" b="1"/>
          </a:p>
        </p:txBody>
      </p:sp>
      <p:sp>
        <p:nvSpPr>
          <p:cNvPr id="210" name="Text Placeholder">
            <a:extLst>
              <a:ext uri="{FF2B5EF4-FFF2-40B4-BE49-F238E27FC236}">
                <a16:creationId xmlns:a16="http://schemas.microsoft.com/office/drawing/2014/main" id="{43F6D718-7396-463D-80C1-3E6ECDFF5980}"/>
              </a:ext>
            </a:extLst>
          </p:cNvPr>
          <p:cNvSpPr>
            <a:spLocks noGrp="1"/>
          </p:cNvSpPr>
          <p:nvPr>
            <p:custDataLst>
              <p:tags r:id="rId46"/>
            </p:custDataLst>
          </p:nvPr>
        </p:nvSpPr>
        <p:spPr bwMode="gray">
          <a:xfrm>
            <a:off x="1716088" y="5932488"/>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2B27F9C3-EC96-4332-A462-07512BD6574F}" type="datetime'6''''''''''''''''''''''''''''''%'''''''''''''''''''''">
              <a:rPr lang="en-US" altLang="en-US" sz="800" smtClean="0">
                <a:effectLst/>
              </a:rPr>
              <a:pPr>
                <a:spcBef>
                  <a:spcPct val="0"/>
                </a:spcBef>
              </a:pPr>
              <a:t>6%</a:t>
            </a:fld>
            <a:endParaRPr lang="en-US" sz="800"/>
          </a:p>
        </p:txBody>
      </p:sp>
      <p:sp>
        <p:nvSpPr>
          <p:cNvPr id="200" name="Text Placeholder">
            <a:extLst>
              <a:ext uri="{FF2B5EF4-FFF2-40B4-BE49-F238E27FC236}">
                <a16:creationId xmlns:a16="http://schemas.microsoft.com/office/drawing/2014/main" id="{A68C9ECB-BE39-46BE-8B40-05F8C11F4DD5}"/>
              </a:ext>
            </a:extLst>
          </p:cNvPr>
          <p:cNvSpPr>
            <a:spLocks noGrp="1"/>
          </p:cNvSpPr>
          <p:nvPr>
            <p:custDataLst>
              <p:tags r:id="rId47"/>
            </p:custDataLst>
          </p:nvPr>
        </p:nvSpPr>
        <p:spPr bwMode="gray">
          <a:xfrm>
            <a:off x="3173413" y="51117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E44B938-D376-4BE7-A6E6-11AA3C19C006}" type="datetime'''''''''''''1''''''''''''''''0''''''''''''''''''''''''%'''">
              <a:rPr lang="en-US" altLang="en-US" sz="800" smtClean="0">
                <a:solidFill>
                  <a:schemeClr val="bg1"/>
                </a:solidFill>
              </a:rPr>
              <a:pPr algn="ctr">
                <a:spcBef>
                  <a:spcPct val="0"/>
                </a:spcBef>
              </a:pPr>
              <a:t>10%</a:t>
            </a:fld>
            <a:endParaRPr lang="en-US" sz="800">
              <a:solidFill>
                <a:schemeClr val="bg1"/>
              </a:solidFill>
            </a:endParaRPr>
          </a:p>
        </p:txBody>
      </p:sp>
      <p:sp>
        <p:nvSpPr>
          <p:cNvPr id="204" name="Text Placeholder">
            <a:extLst>
              <a:ext uri="{FF2B5EF4-FFF2-40B4-BE49-F238E27FC236}">
                <a16:creationId xmlns:a16="http://schemas.microsoft.com/office/drawing/2014/main" id="{8A8358B7-8EE6-4FE6-92BE-AC115047A97F}"/>
              </a:ext>
            </a:extLst>
          </p:cNvPr>
          <p:cNvSpPr>
            <a:spLocks noGrp="1"/>
          </p:cNvSpPr>
          <p:nvPr>
            <p:custDataLst>
              <p:tags r:id="rId48"/>
            </p:custDataLst>
          </p:nvPr>
        </p:nvSpPr>
        <p:spPr bwMode="gray">
          <a:xfrm>
            <a:off x="3173413" y="539591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EAA58D9-D9EB-4F0E-90E0-174DC801AF91}" type="datetime'''''''''''27''''''''%'''''''''''''''''''''''''''''''''''">
              <a:rPr lang="en-US" altLang="en-US" sz="800" smtClean="0">
                <a:solidFill>
                  <a:schemeClr val="bg1"/>
                </a:solidFill>
              </a:rPr>
              <a:pPr algn="ctr">
                <a:spcBef>
                  <a:spcPct val="0"/>
                </a:spcBef>
              </a:pPr>
              <a:t>27%</a:t>
            </a:fld>
            <a:endParaRPr lang="en-US" sz="800">
              <a:solidFill>
                <a:schemeClr val="bg1"/>
              </a:solidFill>
            </a:endParaRPr>
          </a:p>
        </p:txBody>
      </p:sp>
      <p:sp>
        <p:nvSpPr>
          <p:cNvPr id="208" name="Text Placeholder">
            <a:extLst>
              <a:ext uri="{FF2B5EF4-FFF2-40B4-BE49-F238E27FC236}">
                <a16:creationId xmlns:a16="http://schemas.microsoft.com/office/drawing/2014/main" id="{D008205B-D68F-4771-A06C-CFC7E3CFFC9C}"/>
              </a:ext>
            </a:extLst>
          </p:cNvPr>
          <p:cNvSpPr>
            <a:spLocks noGrp="1"/>
          </p:cNvSpPr>
          <p:nvPr>
            <p:custDataLst>
              <p:tags r:id="rId49"/>
            </p:custDataLst>
          </p:nvPr>
        </p:nvSpPr>
        <p:spPr bwMode="gray">
          <a:xfrm>
            <a:off x="3173413" y="580072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64ECAF6-25F5-4D11-BD76-C5475DECCFEA}" type="datetime'''''''26''''''''%'''">
              <a:rPr lang="en-US" altLang="en-US" sz="800" smtClean="0">
                <a:solidFill>
                  <a:schemeClr val="bg1"/>
                </a:solidFill>
              </a:rPr>
              <a:pPr algn="ctr">
                <a:spcBef>
                  <a:spcPct val="0"/>
                </a:spcBef>
              </a:pPr>
              <a:t>26%</a:t>
            </a:fld>
            <a:endParaRPr lang="en-US" sz="800">
              <a:solidFill>
                <a:schemeClr val="bg1"/>
              </a:solidFill>
            </a:endParaRPr>
          </a:p>
        </p:txBody>
      </p:sp>
      <p:sp>
        <p:nvSpPr>
          <p:cNvPr id="199" name="Text Placeholder">
            <a:extLst>
              <a:ext uri="{FF2B5EF4-FFF2-40B4-BE49-F238E27FC236}">
                <a16:creationId xmlns:a16="http://schemas.microsoft.com/office/drawing/2014/main" id="{8DF57508-E11B-4638-BEFD-2F984E543E65}"/>
              </a:ext>
            </a:extLst>
          </p:cNvPr>
          <p:cNvSpPr>
            <a:spLocks noGrp="1"/>
          </p:cNvSpPr>
          <p:nvPr>
            <p:custDataLst>
              <p:tags r:id="rId50"/>
            </p:custDataLst>
          </p:nvPr>
        </p:nvSpPr>
        <p:spPr bwMode="gray">
          <a:xfrm>
            <a:off x="3205163" y="597852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D6E178D-EDE4-4659-8AEE-B4F6C34739A0}" type="datetime'''''''''''''''''''''''''''''''''''''''5%'">
              <a:rPr lang="en-US" altLang="en-US" sz="800" smtClean="0">
                <a:effectLst/>
              </a:rPr>
              <a:pPr>
                <a:spcBef>
                  <a:spcPct val="0"/>
                </a:spcBef>
              </a:pPr>
              <a:t>5%</a:t>
            </a:fld>
            <a:endParaRPr lang="en-US" sz="800"/>
          </a:p>
        </p:txBody>
      </p:sp>
      <p:sp>
        <p:nvSpPr>
          <p:cNvPr id="209" name="Text Placeholder">
            <a:extLst>
              <a:ext uri="{FF2B5EF4-FFF2-40B4-BE49-F238E27FC236}">
                <a16:creationId xmlns:a16="http://schemas.microsoft.com/office/drawing/2014/main" id="{948C26BE-C946-47A9-A111-39B0E15CE80D}"/>
              </a:ext>
            </a:extLst>
          </p:cNvPr>
          <p:cNvSpPr>
            <a:spLocks noGrp="1"/>
          </p:cNvSpPr>
          <p:nvPr>
            <p:custDataLst>
              <p:tags r:id="rId51"/>
            </p:custDataLst>
          </p:nvPr>
        </p:nvSpPr>
        <p:spPr bwMode="gray">
          <a:xfrm>
            <a:off x="3195638" y="6110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446C781-4CB2-4016-9A9F-E87D5DC36B7F}" type="datetime'5''''''''''''''''''''''''''''''''''''''''''''''''''%'">
              <a:rPr lang="en-US" altLang="en-US" sz="800" smtClean="0">
                <a:solidFill>
                  <a:schemeClr val="bg1"/>
                </a:solidFill>
                <a:effectLst/>
              </a:rPr>
              <a:pPr algn="ctr">
                <a:spcBef>
                  <a:spcPct val="0"/>
                </a:spcBef>
              </a:pPr>
              <a:t>5%</a:t>
            </a:fld>
            <a:endParaRPr lang="en-US" sz="800">
              <a:solidFill>
                <a:schemeClr val="bg1"/>
              </a:solidFill>
            </a:endParaRPr>
          </a:p>
        </p:txBody>
      </p:sp>
      <p:sp>
        <p:nvSpPr>
          <p:cNvPr id="212" name="Text Placeholder">
            <a:extLst>
              <a:ext uri="{FF2B5EF4-FFF2-40B4-BE49-F238E27FC236}">
                <a16:creationId xmlns:a16="http://schemas.microsoft.com/office/drawing/2014/main" id="{C473F645-AF25-4DC5-A68B-C0FE4FF6056F}"/>
              </a:ext>
            </a:extLst>
          </p:cNvPr>
          <p:cNvSpPr>
            <a:spLocks noGrp="1"/>
          </p:cNvSpPr>
          <p:nvPr>
            <p:custDataLst>
              <p:tags r:id="rId52"/>
            </p:custDataLst>
          </p:nvPr>
        </p:nvSpPr>
        <p:spPr bwMode="auto">
          <a:xfrm>
            <a:off x="3151188"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579205B-BE20-49A3-A26F-E9412438ACE9}" type="datetime'''''''''''''2''0''2''''''''''''''''''''0'''''''''''''">
              <a:rPr lang="en-US" altLang="en-US" sz="1000" smtClean="0"/>
              <a:pPr algn="ctr">
                <a:spcBef>
                  <a:spcPct val="0"/>
                </a:spcBef>
              </a:pPr>
              <a:t>2020</a:t>
            </a:fld>
            <a:endParaRPr lang="uk-UA" sz="1000"/>
          </a:p>
        </p:txBody>
      </p:sp>
      <p:sp>
        <p:nvSpPr>
          <p:cNvPr id="169" name="Text Placeholder">
            <a:extLst>
              <a:ext uri="{FF2B5EF4-FFF2-40B4-BE49-F238E27FC236}">
                <a16:creationId xmlns:a16="http://schemas.microsoft.com/office/drawing/2014/main" id="{85DE485D-6CF0-4B01-AD9D-007B64D1D707}"/>
              </a:ext>
            </a:extLst>
          </p:cNvPr>
          <p:cNvSpPr>
            <a:spLocks noGrp="1"/>
          </p:cNvSpPr>
          <p:nvPr>
            <p:custDataLst>
              <p:tags r:id="rId53"/>
            </p:custDataLst>
          </p:nvPr>
        </p:nvSpPr>
        <p:spPr bwMode="gray">
          <a:xfrm>
            <a:off x="4722813" y="4754563"/>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AF863B4-E271-498A-8D39-23C2AD709D36}" type="datetime'''''''''''''''''''''''''''''''2''''''9''''''''''''%'''">
              <a:rPr lang="en-US" altLang="en-US" sz="800" smtClean="0"/>
              <a:pPr algn="ctr">
                <a:spcBef>
                  <a:spcPct val="0"/>
                </a:spcBef>
              </a:pPr>
              <a:t>29%</a:t>
            </a:fld>
            <a:endParaRPr lang="en-US" sz="800"/>
          </a:p>
        </p:txBody>
      </p:sp>
      <p:sp>
        <p:nvSpPr>
          <p:cNvPr id="211" name="Text Placeholder">
            <a:extLst>
              <a:ext uri="{FF2B5EF4-FFF2-40B4-BE49-F238E27FC236}">
                <a16:creationId xmlns:a16="http://schemas.microsoft.com/office/drawing/2014/main" id="{E5747D6C-789C-479B-A559-815B2E1941EB}"/>
              </a:ext>
            </a:extLst>
          </p:cNvPr>
          <p:cNvSpPr>
            <a:spLocks noGrp="1"/>
          </p:cNvSpPr>
          <p:nvPr>
            <p:custDataLst>
              <p:tags r:id="rId54"/>
            </p:custDataLst>
          </p:nvPr>
        </p:nvSpPr>
        <p:spPr bwMode="gray">
          <a:xfrm>
            <a:off x="4722813" y="50863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3BD4508-C642-4369-959D-F8603CF02539}" type="datetime'''1''''''''''''''''2''''''''%'''''''''''''''''''''''''">
              <a:rPr lang="en-US" altLang="en-US" sz="800" smtClean="0">
                <a:solidFill>
                  <a:schemeClr val="bg1"/>
                </a:solidFill>
              </a:rPr>
              <a:pPr algn="ctr">
                <a:spcBef>
                  <a:spcPct val="0"/>
                </a:spcBef>
              </a:pPr>
              <a:t>12%</a:t>
            </a:fld>
            <a:endParaRPr lang="en-US" sz="800">
              <a:solidFill>
                <a:schemeClr val="bg1"/>
              </a:solidFill>
            </a:endParaRPr>
          </a:p>
        </p:txBody>
      </p:sp>
      <p:sp>
        <p:nvSpPr>
          <p:cNvPr id="213" name="Text Placeholder">
            <a:extLst>
              <a:ext uri="{FF2B5EF4-FFF2-40B4-BE49-F238E27FC236}">
                <a16:creationId xmlns:a16="http://schemas.microsoft.com/office/drawing/2014/main" id="{213529FD-E54B-43D2-9A8A-5BCEBE0AAF68}"/>
              </a:ext>
            </a:extLst>
          </p:cNvPr>
          <p:cNvSpPr>
            <a:spLocks noGrp="1"/>
          </p:cNvSpPr>
          <p:nvPr>
            <p:custDataLst>
              <p:tags r:id="rId55"/>
            </p:custDataLst>
          </p:nvPr>
        </p:nvSpPr>
        <p:spPr bwMode="gray">
          <a:xfrm>
            <a:off x="4722813" y="5375275"/>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E4D2F83-14B3-4835-B9A6-24C60381D423}" type="datetime'''''''''''''''''2''''4%'''''''''''''">
              <a:rPr lang="en-US" altLang="en-US" sz="800" smtClean="0">
                <a:solidFill>
                  <a:schemeClr val="bg1"/>
                </a:solidFill>
              </a:rPr>
              <a:pPr algn="ctr">
                <a:spcBef>
                  <a:spcPct val="0"/>
                </a:spcBef>
              </a:pPr>
              <a:t>24%</a:t>
            </a:fld>
            <a:endParaRPr lang="en-US" sz="800">
              <a:solidFill>
                <a:schemeClr val="bg1"/>
              </a:solidFill>
            </a:endParaRPr>
          </a:p>
        </p:txBody>
      </p:sp>
      <p:sp>
        <p:nvSpPr>
          <p:cNvPr id="214" name="Text Placeholder">
            <a:extLst>
              <a:ext uri="{FF2B5EF4-FFF2-40B4-BE49-F238E27FC236}">
                <a16:creationId xmlns:a16="http://schemas.microsoft.com/office/drawing/2014/main" id="{75ED9A71-ED47-4775-9406-8B556378B33F}"/>
              </a:ext>
            </a:extLst>
          </p:cNvPr>
          <p:cNvSpPr>
            <a:spLocks noGrp="1"/>
          </p:cNvSpPr>
          <p:nvPr>
            <p:custDataLst>
              <p:tags r:id="rId56"/>
            </p:custDataLst>
          </p:nvPr>
        </p:nvSpPr>
        <p:spPr bwMode="gray">
          <a:xfrm>
            <a:off x="4722813" y="577850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7FE31DE-E377-4FB8-BB5D-BB690502AFBC}" type="datetime'''''''''''2''''''''6''''''''''''''''''''''''%'''''''''">
              <a:rPr lang="en-US" altLang="en-US" sz="800" smtClean="0">
                <a:solidFill>
                  <a:schemeClr val="bg1"/>
                </a:solidFill>
              </a:rPr>
              <a:pPr algn="ctr">
                <a:spcBef>
                  <a:spcPct val="0"/>
                </a:spcBef>
              </a:pPr>
              <a:t>26%</a:t>
            </a:fld>
            <a:endParaRPr lang="en-US" sz="800">
              <a:solidFill>
                <a:schemeClr val="bg1"/>
              </a:solidFill>
            </a:endParaRPr>
          </a:p>
        </p:txBody>
      </p:sp>
      <p:sp>
        <p:nvSpPr>
          <p:cNvPr id="215" name="Text Placeholder">
            <a:extLst>
              <a:ext uri="{FF2B5EF4-FFF2-40B4-BE49-F238E27FC236}">
                <a16:creationId xmlns:a16="http://schemas.microsoft.com/office/drawing/2014/main" id="{EF968BA6-96C1-4415-B9BE-C418BC9328B1}"/>
              </a:ext>
            </a:extLst>
          </p:cNvPr>
          <p:cNvSpPr>
            <a:spLocks noGrp="1"/>
          </p:cNvSpPr>
          <p:nvPr>
            <p:custDataLst>
              <p:tags r:id="rId57"/>
            </p:custDataLst>
          </p:nvPr>
        </p:nvSpPr>
        <p:spPr bwMode="gray">
          <a:xfrm>
            <a:off x="4754563" y="597217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7DFC83F-125D-44A4-AC47-58232281E670}" type="datetime'''''''''''''''5%'''''''''''''''''''''''''''''''''''''">
              <a:rPr lang="en-US" altLang="en-US" sz="800" smtClean="0">
                <a:effectLst/>
              </a:rPr>
              <a:pPr>
                <a:spcBef>
                  <a:spcPct val="0"/>
                </a:spcBef>
              </a:pPr>
              <a:t>5%</a:t>
            </a:fld>
            <a:endParaRPr lang="en-US" sz="800"/>
          </a:p>
        </p:txBody>
      </p:sp>
      <p:sp>
        <p:nvSpPr>
          <p:cNvPr id="225" name="Text Placeholder">
            <a:extLst>
              <a:ext uri="{FF2B5EF4-FFF2-40B4-BE49-F238E27FC236}">
                <a16:creationId xmlns:a16="http://schemas.microsoft.com/office/drawing/2014/main" id="{2601B171-7ABF-452C-A8FD-86C6F1375216}"/>
              </a:ext>
            </a:extLst>
          </p:cNvPr>
          <p:cNvSpPr>
            <a:spLocks noGrp="1"/>
          </p:cNvSpPr>
          <p:nvPr>
            <p:custDataLst>
              <p:tags r:id="rId58"/>
            </p:custDataLst>
          </p:nvPr>
        </p:nvSpPr>
        <p:spPr bwMode="gray">
          <a:xfrm>
            <a:off x="6048375" y="4329113"/>
            <a:ext cx="649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sz="1000" b="1"/>
              <a:t>2,371-2,670</a:t>
            </a:r>
            <a:r>
              <a:rPr lang="en-US" sz="1000" b="1" baseline="30000"/>
              <a:t>1)</a:t>
            </a:r>
            <a:endParaRPr lang="uk-UA" sz="1000" b="1"/>
          </a:p>
        </p:txBody>
      </p:sp>
      <p:sp>
        <p:nvSpPr>
          <p:cNvPr id="173" name="Text Placeholder">
            <a:extLst>
              <a:ext uri="{FF2B5EF4-FFF2-40B4-BE49-F238E27FC236}">
                <a16:creationId xmlns:a16="http://schemas.microsoft.com/office/drawing/2014/main" id="{187D4E32-2A0A-4F42-891D-909D70864ED8}"/>
              </a:ext>
            </a:extLst>
          </p:cNvPr>
          <p:cNvSpPr>
            <a:spLocks noGrp="1"/>
          </p:cNvSpPr>
          <p:nvPr>
            <p:custDataLst>
              <p:tags r:id="rId59"/>
            </p:custDataLst>
          </p:nvPr>
        </p:nvSpPr>
        <p:spPr bwMode="gray">
          <a:xfrm>
            <a:off x="4745038" y="6107113"/>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D6020AA-C665-4E2F-B178-14A0E59EEF6B}" type="datetime'''''''''''''''''''5''%'''''''''''''''''''">
              <a:rPr lang="en-US" altLang="en-US" sz="800" smtClean="0">
                <a:solidFill>
                  <a:schemeClr val="bg1"/>
                </a:solidFill>
                <a:effectLst/>
              </a:rPr>
              <a:pPr algn="ctr">
                <a:spcBef>
                  <a:spcPct val="0"/>
                </a:spcBef>
              </a:pPr>
              <a:t>5%</a:t>
            </a:fld>
            <a:endParaRPr lang="en-US" sz="800">
              <a:solidFill>
                <a:schemeClr val="bg1"/>
              </a:solidFill>
            </a:endParaRPr>
          </a:p>
        </p:txBody>
      </p:sp>
      <p:sp>
        <p:nvSpPr>
          <p:cNvPr id="216" name="Text Placeholder">
            <a:extLst>
              <a:ext uri="{FF2B5EF4-FFF2-40B4-BE49-F238E27FC236}">
                <a16:creationId xmlns:a16="http://schemas.microsoft.com/office/drawing/2014/main" id="{565F3F80-F75B-4C08-9AE0-FE4112DFB25B}"/>
              </a:ext>
            </a:extLst>
          </p:cNvPr>
          <p:cNvSpPr>
            <a:spLocks noGrp="1"/>
          </p:cNvSpPr>
          <p:nvPr>
            <p:custDataLst>
              <p:tags r:id="rId60"/>
            </p:custDataLst>
          </p:nvPr>
        </p:nvSpPr>
        <p:spPr bwMode="auto">
          <a:xfrm>
            <a:off x="4700588"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B6394CE-28D5-48A7-AB42-667C4ACDA542}" type="datetime'''''''''''''2''''0''''''''2''''''''''''''''''''''''''5'''">
              <a:rPr lang="en-US" altLang="en-US" sz="1000" smtClean="0"/>
              <a:pPr algn="ctr">
                <a:spcBef>
                  <a:spcPct val="0"/>
                </a:spcBef>
              </a:pPr>
              <a:t>2025</a:t>
            </a:fld>
            <a:endParaRPr lang="uk-UA" sz="1000"/>
          </a:p>
        </p:txBody>
      </p:sp>
      <p:sp>
        <p:nvSpPr>
          <p:cNvPr id="217" name="Text Placeholder">
            <a:extLst>
              <a:ext uri="{FF2B5EF4-FFF2-40B4-BE49-F238E27FC236}">
                <a16:creationId xmlns:a16="http://schemas.microsoft.com/office/drawing/2014/main" id="{369CC71D-C3BB-4640-92A4-9EDBDB43D382}"/>
              </a:ext>
            </a:extLst>
          </p:cNvPr>
          <p:cNvSpPr>
            <a:spLocks noGrp="1"/>
          </p:cNvSpPr>
          <p:nvPr>
            <p:custDataLst>
              <p:tags r:id="rId61"/>
            </p:custDataLst>
          </p:nvPr>
        </p:nvSpPr>
        <p:spPr bwMode="gray">
          <a:xfrm>
            <a:off x="6132513" y="46942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C342AAA-0D73-4286-897F-C19C2227F0E8}" type="datetime'31''''''''''''''''''''''''''''''''''''''''''''''%'''">
              <a:rPr lang="en-US" altLang="en-US" sz="800" smtClean="0"/>
              <a:pPr algn="ctr">
                <a:spcBef>
                  <a:spcPct val="0"/>
                </a:spcBef>
              </a:pPr>
              <a:t>31%</a:t>
            </a:fld>
            <a:endParaRPr lang="en-US" sz="800"/>
          </a:p>
        </p:txBody>
      </p:sp>
      <p:sp>
        <p:nvSpPr>
          <p:cNvPr id="218" name="Text Placeholder">
            <a:extLst>
              <a:ext uri="{FF2B5EF4-FFF2-40B4-BE49-F238E27FC236}">
                <a16:creationId xmlns:a16="http://schemas.microsoft.com/office/drawing/2014/main" id="{2F248618-DBC7-42BF-ACA0-8FEE8E4509E0}"/>
              </a:ext>
            </a:extLst>
          </p:cNvPr>
          <p:cNvSpPr>
            <a:spLocks noGrp="1"/>
          </p:cNvSpPr>
          <p:nvPr>
            <p:custDataLst>
              <p:tags r:id="rId62"/>
            </p:custDataLst>
          </p:nvPr>
        </p:nvSpPr>
        <p:spPr bwMode="gray">
          <a:xfrm>
            <a:off x="6132513" y="5075238"/>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0FF118E-121B-42D7-99EC-07CD25BF429B}" type="datetime'''''''''''''''1''''''3''%'''''''''''''''''">
              <a:rPr lang="en-US" altLang="en-US" sz="800" smtClean="0">
                <a:solidFill>
                  <a:schemeClr val="bg1"/>
                </a:solidFill>
              </a:rPr>
              <a:pPr algn="ctr">
                <a:spcBef>
                  <a:spcPct val="0"/>
                </a:spcBef>
              </a:pPr>
              <a:t>13%</a:t>
            </a:fld>
            <a:endParaRPr lang="en-US" sz="800">
              <a:solidFill>
                <a:schemeClr val="bg1"/>
              </a:solidFill>
            </a:endParaRPr>
          </a:p>
        </p:txBody>
      </p:sp>
      <p:sp>
        <p:nvSpPr>
          <p:cNvPr id="166" name="Text Placeholder">
            <a:extLst>
              <a:ext uri="{FF2B5EF4-FFF2-40B4-BE49-F238E27FC236}">
                <a16:creationId xmlns:a16="http://schemas.microsoft.com/office/drawing/2014/main" id="{610BCC77-D95B-4E69-8BA2-540C0B088D91}"/>
              </a:ext>
            </a:extLst>
          </p:cNvPr>
          <p:cNvSpPr>
            <a:spLocks noGrp="1"/>
          </p:cNvSpPr>
          <p:nvPr>
            <p:custDataLst>
              <p:tags r:id="rId63"/>
            </p:custDataLst>
          </p:nvPr>
        </p:nvSpPr>
        <p:spPr bwMode="gray">
          <a:xfrm>
            <a:off x="6132513" y="536416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64BDE32-234E-495E-A708-7D8748E3E981}" type="datetime'''''''''''''''''''2''''''''0''%'''''''''''''''''''">
              <a:rPr lang="en-US" altLang="en-US" sz="800" smtClean="0">
                <a:solidFill>
                  <a:schemeClr val="bg1"/>
                </a:solidFill>
              </a:rPr>
              <a:pPr algn="ctr">
                <a:spcBef>
                  <a:spcPct val="0"/>
                </a:spcBef>
              </a:pPr>
              <a:t>20%</a:t>
            </a:fld>
            <a:endParaRPr lang="en-US" sz="800">
              <a:solidFill>
                <a:schemeClr val="bg1"/>
              </a:solidFill>
            </a:endParaRPr>
          </a:p>
        </p:txBody>
      </p:sp>
      <p:sp>
        <p:nvSpPr>
          <p:cNvPr id="219" name="Text Placeholder">
            <a:extLst>
              <a:ext uri="{FF2B5EF4-FFF2-40B4-BE49-F238E27FC236}">
                <a16:creationId xmlns:a16="http://schemas.microsoft.com/office/drawing/2014/main" id="{0794FC55-6EC3-4E59-AA73-76E4D5B3E24F}"/>
              </a:ext>
            </a:extLst>
          </p:cNvPr>
          <p:cNvSpPr>
            <a:spLocks noGrp="1"/>
          </p:cNvSpPr>
          <p:nvPr>
            <p:custDataLst>
              <p:tags r:id="rId64"/>
            </p:custDataLst>
          </p:nvPr>
        </p:nvSpPr>
        <p:spPr bwMode="gray">
          <a:xfrm>
            <a:off x="6132513" y="5761038"/>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D74ECC5-D4A6-473C-8FAD-7ED71A674C58}" type="datetime'''''2''''''''''''''''6''''%'''''''''''''''">
              <a:rPr lang="en-US" altLang="en-US" sz="800" smtClean="0">
                <a:solidFill>
                  <a:schemeClr val="bg1"/>
                </a:solidFill>
              </a:rPr>
              <a:pPr algn="ctr">
                <a:spcBef>
                  <a:spcPct val="0"/>
                </a:spcBef>
              </a:pPr>
              <a:t>26%</a:t>
            </a:fld>
            <a:endParaRPr lang="en-US" sz="800">
              <a:solidFill>
                <a:schemeClr val="bg1"/>
              </a:solidFill>
            </a:endParaRPr>
          </a:p>
        </p:txBody>
      </p:sp>
      <p:sp>
        <p:nvSpPr>
          <p:cNvPr id="220" name="Text Placeholder">
            <a:extLst>
              <a:ext uri="{FF2B5EF4-FFF2-40B4-BE49-F238E27FC236}">
                <a16:creationId xmlns:a16="http://schemas.microsoft.com/office/drawing/2014/main" id="{37FABEBB-615E-4107-A387-27AD33853404}"/>
              </a:ext>
            </a:extLst>
          </p:cNvPr>
          <p:cNvSpPr>
            <a:spLocks noGrp="1"/>
          </p:cNvSpPr>
          <p:nvPr>
            <p:custDataLst>
              <p:tags r:id="rId65"/>
            </p:custDataLst>
          </p:nvPr>
        </p:nvSpPr>
        <p:spPr bwMode="gray">
          <a:xfrm>
            <a:off x="6178550" y="6105525"/>
            <a:ext cx="152400" cy="109538"/>
          </a:xfrm>
          <a:prstGeom prst="rect">
            <a:avLst/>
          </a:prstGeom>
          <a:noFill/>
          <a:ln>
            <a:noFill/>
          </a:ln>
          <a:effectLst/>
          <a:extLst>
            <a:ext uri="{909E8E84-426E-40DD-AFC4-6F175D3DCCD1}">
              <a14:hiddenFill xmlns:a14="http://schemas.microsoft.com/office/drawing/2010/main">
                <a:solidFill>
                  <a:srgbClr val="1A84BD"/>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12B3EA8-CAED-440E-BB12-F366283A4AC0}" type="datetime'''''''''''''''5''''''''''''''''''''''''''''''''%'''''''">
              <a:rPr lang="en-US" altLang="en-US" sz="800" smtClean="0">
                <a:solidFill>
                  <a:schemeClr val="bg1"/>
                </a:solidFill>
              </a:rPr>
              <a:pPr algn="ctr">
                <a:spcBef>
                  <a:spcPct val="0"/>
                </a:spcBef>
              </a:pPr>
              <a:t>5%</a:t>
            </a:fld>
            <a:endParaRPr lang="en-US" sz="800">
              <a:solidFill>
                <a:schemeClr val="bg1"/>
              </a:solidFill>
            </a:endParaRPr>
          </a:p>
        </p:txBody>
      </p:sp>
      <p:sp>
        <p:nvSpPr>
          <p:cNvPr id="221" name="Text Placeholder">
            <a:extLst>
              <a:ext uri="{FF2B5EF4-FFF2-40B4-BE49-F238E27FC236}">
                <a16:creationId xmlns:a16="http://schemas.microsoft.com/office/drawing/2014/main" id="{F8B8E380-0763-4996-997A-5F11121EFA53}"/>
              </a:ext>
            </a:extLst>
          </p:cNvPr>
          <p:cNvSpPr>
            <a:spLocks noGrp="1"/>
          </p:cNvSpPr>
          <p:nvPr>
            <p:custDataLst>
              <p:tags r:id="rId66"/>
            </p:custDataLst>
          </p:nvPr>
        </p:nvSpPr>
        <p:spPr bwMode="auto">
          <a:xfrm>
            <a:off x="6251575"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2F18FE2-0E8E-44A5-A6A9-C661F2D91518}" type="datetime'''''''''''''''''''''''''''''''''''''2''''03''0'''''''">
              <a:rPr lang="en-US" altLang="en-US" sz="1000" smtClean="0"/>
              <a:pPr algn="ctr">
                <a:spcBef>
                  <a:spcPct val="0"/>
                </a:spcBef>
              </a:pPr>
              <a:t>2030</a:t>
            </a:fld>
            <a:endParaRPr lang="uk-UA" sz="1000"/>
          </a:p>
        </p:txBody>
      </p:sp>
      <p:sp>
        <p:nvSpPr>
          <p:cNvPr id="223" name="Text Placeholder">
            <a:extLst>
              <a:ext uri="{FF2B5EF4-FFF2-40B4-BE49-F238E27FC236}">
                <a16:creationId xmlns:a16="http://schemas.microsoft.com/office/drawing/2014/main" id="{BF301227-1BCE-48BF-82A9-53798A6AA1A6}"/>
              </a:ext>
            </a:extLst>
          </p:cNvPr>
          <p:cNvSpPr>
            <a:spLocks noGrp="1"/>
          </p:cNvSpPr>
          <p:nvPr>
            <p:custDataLst>
              <p:tags r:id="rId67"/>
            </p:custDataLst>
          </p:nvPr>
        </p:nvSpPr>
        <p:spPr bwMode="gray">
          <a:xfrm>
            <a:off x="3124200" y="4533900"/>
            <a:ext cx="295275"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96E8A6E-0D63-4A01-A148-18607B340EA0}" type="datetime'''''2,''''''''''''''''''''3''1''''''9'''''''''''''''">
              <a:rPr lang="en-US" altLang="en-US" sz="1000" b="1" smtClean="0"/>
              <a:pPr algn="ctr">
                <a:spcBef>
                  <a:spcPct val="0"/>
                </a:spcBef>
              </a:pPr>
              <a:t>2,319</a:t>
            </a:fld>
            <a:endParaRPr lang="uk-UA" sz="1000" b="1"/>
          </a:p>
        </p:txBody>
      </p:sp>
      <p:sp>
        <p:nvSpPr>
          <p:cNvPr id="224" name="Text Placeholder">
            <a:extLst>
              <a:ext uri="{FF2B5EF4-FFF2-40B4-BE49-F238E27FC236}">
                <a16:creationId xmlns:a16="http://schemas.microsoft.com/office/drawing/2014/main" id="{04FE61F9-A283-4902-A3FE-575F9D7A9E6E}"/>
              </a:ext>
            </a:extLst>
          </p:cNvPr>
          <p:cNvSpPr>
            <a:spLocks noGrp="1"/>
          </p:cNvSpPr>
          <p:nvPr>
            <p:custDataLst>
              <p:tags r:id="rId68"/>
            </p:custDataLst>
          </p:nvPr>
        </p:nvSpPr>
        <p:spPr bwMode="gray">
          <a:xfrm>
            <a:off x="4497388" y="4419600"/>
            <a:ext cx="649288"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000" b="1"/>
              <a:t>2,368-2,505</a:t>
            </a:r>
            <a:r>
              <a:rPr lang="en-US" altLang="en-US" sz="1000" b="1" baseline="30000"/>
              <a:t>1)</a:t>
            </a:r>
            <a:endParaRPr lang="uk-UA" sz="1000" b="1"/>
          </a:p>
        </p:txBody>
      </p:sp>
      <p:cxnSp>
        <p:nvCxnSpPr>
          <p:cNvPr id="227" name="Straight Connector 226">
            <a:extLst>
              <a:ext uri="{FF2B5EF4-FFF2-40B4-BE49-F238E27FC236}">
                <a16:creationId xmlns:a16="http://schemas.microsoft.com/office/drawing/2014/main" id="{AA0095FD-D553-4E8E-851E-59DA91C19372}"/>
              </a:ext>
            </a:extLst>
          </p:cNvPr>
          <p:cNvCxnSpPr>
            <a:cxnSpLocks/>
          </p:cNvCxnSpPr>
          <p:nvPr/>
        </p:nvCxnSpPr>
        <p:spPr>
          <a:xfrm>
            <a:off x="722313" y="4281488"/>
            <a:ext cx="5930414"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468A19C7-30E5-4FCE-A5B6-FDB66F229119}"/>
              </a:ext>
            </a:extLst>
          </p:cNvPr>
          <p:cNvSpPr/>
          <p:nvPr/>
        </p:nvSpPr>
        <p:spPr>
          <a:xfrm>
            <a:off x="6727371" y="2183363"/>
            <a:ext cx="2537926" cy="4245429"/>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a:p>
        </p:txBody>
      </p:sp>
      <p:sp>
        <p:nvSpPr>
          <p:cNvPr id="7" name="Title77">
            <a:extLst>
              <a:ext uri="{FF2B5EF4-FFF2-40B4-BE49-F238E27FC236}">
                <a16:creationId xmlns:a16="http://schemas.microsoft.com/office/drawing/2014/main" id="{5F5FE679-E600-4207-9690-191459E1D45F}"/>
              </a:ext>
            </a:extLst>
          </p:cNvPr>
          <p:cNvSpPr txBox="1"/>
          <p:nvPr/>
        </p:nvSpPr>
        <p:spPr>
          <a:xfrm>
            <a:off x="6769985" y="2278500"/>
            <a:ext cx="2235013" cy="3347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en-US" sz="1900" noProof="0">
                <a:solidFill>
                  <a:schemeClr val="bg1"/>
                </a:solidFill>
                <a:latin typeface="+mn-lt"/>
                <a:cs typeface="Arial Narrow" pitchFamily="34" charset="0"/>
              </a:rPr>
              <a:t>Key takeaways</a:t>
            </a:r>
          </a:p>
        </p:txBody>
      </p:sp>
      <p:sp>
        <p:nvSpPr>
          <p:cNvPr id="484" name="RBContent482">
            <a:extLst>
              <a:ext uri="{FF2B5EF4-FFF2-40B4-BE49-F238E27FC236}">
                <a16:creationId xmlns:a16="http://schemas.microsoft.com/office/drawing/2014/main" id="{379E3389-D8E1-493B-B6D3-430DA93D444F}"/>
              </a:ext>
            </a:extLst>
          </p:cNvPr>
          <p:cNvSpPr txBox="1">
            <a:spLocks/>
          </p:cNvSpPr>
          <p:nvPr/>
        </p:nvSpPr>
        <p:spPr>
          <a:xfrm>
            <a:off x="6769984" y="2705100"/>
            <a:ext cx="2429999" cy="3368614"/>
          </a:xfrm>
          <a:prstGeom prst="rect">
            <a:avLst/>
          </a:prstGeom>
          <a:noFill/>
          <a:ln w="9525">
            <a:noFill/>
          </a:ln>
        </p:spPr>
        <p:txBody>
          <a:bodyPr vert="horz" wrap="square" lIns="0" tIns="0" rIns="0" bIns="0" rtlCol="0">
            <a:spAutoFit/>
          </a:bodyPr>
          <a:lstStyle/>
          <a:p>
            <a:pPr marL="120685" lvl="1" indent="-120685">
              <a:lnSpc>
                <a:spcPct val="90000"/>
              </a:lnSpc>
              <a:spcBef>
                <a:spcPts val="1200"/>
              </a:spcBef>
              <a:buSzPct val="100000"/>
              <a:buFont typeface="Arial Narrow" panose="020B0606020202030204" pitchFamily="34" charset="0"/>
              <a:buChar char="&gt;"/>
            </a:pPr>
            <a:r>
              <a:rPr lang="en-US" sz="1700" b="0">
                <a:solidFill>
                  <a:schemeClr val="accent1"/>
                </a:solidFill>
              </a:rPr>
              <a:t>The final energy demand is expected</a:t>
            </a:r>
            <a:r>
              <a:rPr lang="en-US" sz="1700">
                <a:solidFill>
                  <a:schemeClr val="accent1"/>
                </a:solidFill>
              </a:rPr>
              <a:t> to demonstrate a double-digit growth</a:t>
            </a:r>
            <a:r>
              <a:rPr lang="en-US" sz="1700" b="0">
                <a:solidFill>
                  <a:schemeClr val="accent1"/>
                </a:solidFill>
              </a:rPr>
              <a:t> until 2030</a:t>
            </a:r>
          </a:p>
          <a:p>
            <a:pPr marL="120685" lvl="1" indent="-120685">
              <a:lnSpc>
                <a:spcPct val="90000"/>
              </a:lnSpc>
              <a:spcBef>
                <a:spcPts val="1200"/>
              </a:spcBef>
              <a:buSzPct val="100000"/>
              <a:buFont typeface="Arial Narrow" panose="020B0606020202030204" pitchFamily="34" charset="0"/>
              <a:buChar char="&gt;"/>
            </a:pPr>
            <a:r>
              <a:rPr lang="en-US" sz="1700">
                <a:solidFill>
                  <a:schemeClr val="accent1"/>
                </a:solidFill>
              </a:rPr>
              <a:t>Implementation of energy efficiency </a:t>
            </a:r>
            <a:r>
              <a:rPr lang="en-US" sz="1700" b="0">
                <a:solidFill>
                  <a:schemeClr val="accent1"/>
                </a:solidFill>
              </a:rPr>
              <a:t>measures is likely to put some downward pressure on demand growth</a:t>
            </a:r>
          </a:p>
          <a:p>
            <a:pPr marL="120685" lvl="1" indent="-120685">
              <a:lnSpc>
                <a:spcPct val="90000"/>
              </a:lnSpc>
              <a:spcBef>
                <a:spcPts val="1200"/>
              </a:spcBef>
              <a:buSzPct val="100000"/>
              <a:buFont typeface="Arial Narrow" panose="020B0606020202030204" pitchFamily="34" charset="0"/>
              <a:buChar char="&gt;"/>
            </a:pPr>
            <a:r>
              <a:rPr lang="en-US" sz="1700">
                <a:solidFill>
                  <a:schemeClr val="accent1"/>
                </a:solidFill>
              </a:rPr>
              <a:t>Electricity and natural gas </a:t>
            </a:r>
            <a:r>
              <a:rPr lang="en-US" sz="1700" b="0">
                <a:solidFill>
                  <a:schemeClr val="accent1"/>
                </a:solidFill>
              </a:rPr>
              <a:t>will be the fastest growing energy sources through 2030 – partly at the expense of coal</a:t>
            </a:r>
            <a:endParaRPr lang="uk-UA" sz="1700" b="0">
              <a:solidFill>
                <a:schemeClr val="accent1"/>
              </a:solidFill>
            </a:endParaRPr>
          </a:p>
        </p:txBody>
      </p:sp>
      <p:cxnSp>
        <p:nvCxnSpPr>
          <p:cNvPr id="238" name="HorizontalLine8">
            <a:extLst>
              <a:ext uri="{FF2B5EF4-FFF2-40B4-BE49-F238E27FC236}">
                <a16:creationId xmlns:a16="http://schemas.microsoft.com/office/drawing/2014/main" id="{477EA037-E148-4707-9EE9-1158F0330102}"/>
              </a:ext>
            </a:extLst>
          </p:cNvPr>
          <p:cNvCxnSpPr>
            <a:cxnSpLocks/>
          </p:cNvCxnSpPr>
          <p:nvPr/>
        </p:nvCxnSpPr>
        <p:spPr>
          <a:xfrm>
            <a:off x="6769985" y="2613292"/>
            <a:ext cx="2200058"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239" name="Freeform 9">
            <a:extLst>
              <a:ext uri="{FF2B5EF4-FFF2-40B4-BE49-F238E27FC236}">
                <a16:creationId xmlns:a16="http://schemas.microsoft.com/office/drawing/2014/main" id="{B75DECB1-0103-4E42-9D08-0C0D6D8211C9}"/>
              </a:ext>
            </a:extLst>
          </p:cNvPr>
          <p:cNvSpPr>
            <a:spLocks noChangeAspect="1" noEditPoints="1"/>
          </p:cNvSpPr>
          <p:nvPr/>
        </p:nvSpPr>
        <p:spPr bwMode="auto">
          <a:xfrm>
            <a:off x="8934697" y="2288791"/>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mn-lt"/>
              <a:sym typeface="+mn-lt"/>
            </a:endParaRPr>
          </a:p>
        </p:txBody>
      </p:sp>
      <p:sp>
        <p:nvSpPr>
          <p:cNvPr id="115" name="Text Placeholder">
            <a:extLst>
              <a:ext uri="{FF2B5EF4-FFF2-40B4-BE49-F238E27FC236}">
                <a16:creationId xmlns:a16="http://schemas.microsoft.com/office/drawing/2014/main" id="{85FA9E09-C323-4483-9600-C51A522504E4}"/>
              </a:ext>
            </a:extLst>
          </p:cNvPr>
          <p:cNvSpPr>
            <a:spLocks noGrp="1"/>
          </p:cNvSpPr>
          <p:nvPr>
            <p:custDataLst>
              <p:tags r:id="rId69"/>
            </p:custDataLst>
          </p:nvPr>
        </p:nvSpPr>
        <p:spPr bwMode="auto">
          <a:xfrm>
            <a:off x="5689632" y="6455330"/>
            <a:ext cx="4476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Electricity</a:t>
            </a:r>
            <a:endParaRPr lang="en-US" sz="1000" b="0">
              <a:latin typeface="+mn-lt"/>
            </a:endParaRPr>
          </a:p>
        </p:txBody>
      </p:sp>
      <p:sp>
        <p:nvSpPr>
          <p:cNvPr id="116" name="Text Placeholder">
            <a:extLst>
              <a:ext uri="{FF2B5EF4-FFF2-40B4-BE49-F238E27FC236}">
                <a16:creationId xmlns:a16="http://schemas.microsoft.com/office/drawing/2014/main" id="{578E3FC4-FA8C-4BF9-A589-864007DF5F7D}"/>
              </a:ext>
            </a:extLst>
          </p:cNvPr>
          <p:cNvSpPr>
            <a:spLocks noGrp="1"/>
          </p:cNvSpPr>
          <p:nvPr>
            <p:custDataLst>
              <p:tags r:id="rId70"/>
            </p:custDataLst>
          </p:nvPr>
        </p:nvSpPr>
        <p:spPr bwMode="auto">
          <a:xfrm>
            <a:off x="879888" y="6455330"/>
            <a:ext cx="5524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Natural gas</a:t>
            </a:r>
            <a:endParaRPr lang="en-US" sz="1000" b="0">
              <a:latin typeface="+mn-lt"/>
            </a:endParaRPr>
          </a:p>
        </p:txBody>
      </p:sp>
      <p:sp>
        <p:nvSpPr>
          <p:cNvPr id="117" name="Text Placeholder">
            <a:extLst>
              <a:ext uri="{FF2B5EF4-FFF2-40B4-BE49-F238E27FC236}">
                <a16:creationId xmlns:a16="http://schemas.microsoft.com/office/drawing/2014/main" id="{E5F2BE05-01B3-4717-A3ED-75D3F35A2074}"/>
              </a:ext>
            </a:extLst>
          </p:cNvPr>
          <p:cNvSpPr>
            <a:spLocks noGrp="1"/>
          </p:cNvSpPr>
          <p:nvPr>
            <p:custDataLst>
              <p:tags r:id="rId71"/>
            </p:custDataLst>
          </p:nvPr>
        </p:nvSpPr>
        <p:spPr bwMode="auto">
          <a:xfrm>
            <a:off x="4946489" y="6455330"/>
            <a:ext cx="4000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Biomass</a:t>
            </a:r>
            <a:endParaRPr lang="en-US" sz="1000" b="0">
              <a:latin typeface="+mn-lt"/>
            </a:endParaRPr>
          </a:p>
        </p:txBody>
      </p:sp>
      <p:sp>
        <p:nvSpPr>
          <p:cNvPr id="118" name="Text Placeholder">
            <a:extLst>
              <a:ext uri="{FF2B5EF4-FFF2-40B4-BE49-F238E27FC236}">
                <a16:creationId xmlns:a16="http://schemas.microsoft.com/office/drawing/2014/main" id="{AA6FBB3A-CF8E-402E-96C8-79A3886D84ED}"/>
              </a:ext>
            </a:extLst>
          </p:cNvPr>
          <p:cNvSpPr>
            <a:spLocks noGrp="1"/>
          </p:cNvSpPr>
          <p:nvPr>
            <p:custDataLst>
              <p:tags r:id="rId72"/>
            </p:custDataLst>
          </p:nvPr>
        </p:nvSpPr>
        <p:spPr bwMode="auto">
          <a:xfrm>
            <a:off x="4222702" y="6455330"/>
            <a:ext cx="212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Coal</a:t>
            </a:r>
            <a:endParaRPr lang="en-US" sz="1000" b="0">
              <a:latin typeface="+mn-lt"/>
            </a:endParaRPr>
          </a:p>
        </p:txBody>
      </p:sp>
      <p:sp>
        <p:nvSpPr>
          <p:cNvPr id="121" name="Text Placeholder">
            <a:extLst>
              <a:ext uri="{FF2B5EF4-FFF2-40B4-BE49-F238E27FC236}">
                <a16:creationId xmlns:a16="http://schemas.microsoft.com/office/drawing/2014/main" id="{51FB5EF8-06CD-4392-8C39-22D9B16F0221}"/>
              </a:ext>
            </a:extLst>
          </p:cNvPr>
          <p:cNvSpPr>
            <a:spLocks noGrp="1"/>
          </p:cNvSpPr>
          <p:nvPr>
            <p:custDataLst>
              <p:tags r:id="rId73"/>
            </p:custDataLst>
          </p:nvPr>
        </p:nvSpPr>
        <p:spPr bwMode="auto">
          <a:xfrm>
            <a:off x="1934193" y="6428629"/>
            <a:ext cx="1002938" cy="18992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Oil &amp; oil products</a:t>
            </a:r>
            <a:endParaRPr lang="en-US" sz="1000" b="0">
              <a:latin typeface="+mn-lt"/>
            </a:endParaRPr>
          </a:p>
        </p:txBody>
      </p:sp>
      <p:sp>
        <p:nvSpPr>
          <p:cNvPr id="122" name="Text Placeholder">
            <a:extLst>
              <a:ext uri="{FF2B5EF4-FFF2-40B4-BE49-F238E27FC236}">
                <a16:creationId xmlns:a16="http://schemas.microsoft.com/office/drawing/2014/main" id="{85F55766-034B-4BFD-9836-7F2AA8A7F65A}"/>
              </a:ext>
            </a:extLst>
          </p:cNvPr>
          <p:cNvSpPr>
            <a:spLocks noGrp="1"/>
          </p:cNvSpPr>
          <p:nvPr>
            <p:custDataLst>
              <p:tags r:id="rId74"/>
            </p:custDataLst>
          </p:nvPr>
        </p:nvSpPr>
        <p:spPr bwMode="auto">
          <a:xfrm>
            <a:off x="3307313" y="6407594"/>
            <a:ext cx="855861" cy="23199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en-GB" sz="1000" b="0">
                <a:latin typeface="+mn-lt"/>
              </a:rPr>
              <a:t>Heat</a:t>
            </a:r>
            <a:endParaRPr lang="en-US" sz="1000" b="0">
              <a:latin typeface="+mn-lt"/>
            </a:endParaRPr>
          </a:p>
        </p:txBody>
      </p:sp>
      <p:sp>
        <p:nvSpPr>
          <p:cNvPr id="123" name="Freeform: Shape 122">
            <a:extLst>
              <a:ext uri="{FF2B5EF4-FFF2-40B4-BE49-F238E27FC236}">
                <a16:creationId xmlns:a16="http://schemas.microsoft.com/office/drawing/2014/main" id="{61FC0F64-1A5A-4020-9893-DAE0979F3A31}"/>
              </a:ext>
            </a:extLst>
          </p:cNvPr>
          <p:cNvSpPr>
            <a:spLocks noChangeAspect="1"/>
          </p:cNvSpPr>
          <p:nvPr/>
        </p:nvSpPr>
        <p:spPr>
          <a:xfrm>
            <a:off x="3198939" y="6459298"/>
            <a:ext cx="136327" cy="128588"/>
          </a:xfrm>
          <a:custGeom>
            <a:avLst/>
            <a:gdLst>
              <a:gd name="connsiteX0" fmla="*/ 2355014 w 3877549"/>
              <a:gd name="connsiteY0" fmla="*/ 2963836 h 3657411"/>
              <a:gd name="connsiteX1" fmla="*/ 2259205 w 3877549"/>
              <a:gd name="connsiteY1" fmla="*/ 3059645 h 3657411"/>
              <a:gd name="connsiteX2" fmla="*/ 2355014 w 3877549"/>
              <a:gd name="connsiteY2" fmla="*/ 3155454 h 3657411"/>
              <a:gd name="connsiteX3" fmla="*/ 2634111 w 3877549"/>
              <a:gd name="connsiteY3" fmla="*/ 3155454 h 3657411"/>
              <a:gd name="connsiteX4" fmla="*/ 2729920 w 3877549"/>
              <a:gd name="connsiteY4" fmla="*/ 3059645 h 3657411"/>
              <a:gd name="connsiteX5" fmla="*/ 2634111 w 3877549"/>
              <a:gd name="connsiteY5" fmla="*/ 2963836 h 3657411"/>
              <a:gd name="connsiteX6" fmla="*/ 2569544 w 3877549"/>
              <a:gd name="connsiteY6" fmla="*/ 2543109 h 3657411"/>
              <a:gd name="connsiteX7" fmla="*/ 2473735 w 3877549"/>
              <a:gd name="connsiteY7" fmla="*/ 2638918 h 3657411"/>
              <a:gd name="connsiteX8" fmla="*/ 2569544 w 3877549"/>
              <a:gd name="connsiteY8" fmla="*/ 2734727 h 3657411"/>
              <a:gd name="connsiteX9" fmla="*/ 2848640 w 3877549"/>
              <a:gd name="connsiteY9" fmla="*/ 2734727 h 3657411"/>
              <a:gd name="connsiteX10" fmla="*/ 2944450 w 3877549"/>
              <a:gd name="connsiteY10" fmla="*/ 2638918 h 3657411"/>
              <a:gd name="connsiteX11" fmla="*/ 2848640 w 3877549"/>
              <a:gd name="connsiteY11" fmla="*/ 2543109 h 3657411"/>
              <a:gd name="connsiteX12" fmla="*/ 392131 w 3877549"/>
              <a:gd name="connsiteY12" fmla="*/ 2333331 h 3657411"/>
              <a:gd name="connsiteX13" fmla="*/ 451329 w 3877549"/>
              <a:gd name="connsiteY13" fmla="*/ 2343159 h 3657411"/>
              <a:gd name="connsiteX14" fmla="*/ 582546 w 3877549"/>
              <a:gd name="connsiteY14" fmla="*/ 2409809 h 3657411"/>
              <a:gd name="connsiteX15" fmla="*/ 605457 w 3877549"/>
              <a:gd name="connsiteY15" fmla="*/ 2426471 h 3657411"/>
              <a:gd name="connsiteX16" fmla="*/ 638782 w 3877549"/>
              <a:gd name="connsiteY16" fmla="*/ 2451465 h 3657411"/>
              <a:gd name="connsiteX17" fmla="*/ 751253 w 3877549"/>
              <a:gd name="connsiteY17" fmla="*/ 2466044 h 3657411"/>
              <a:gd name="connsiteX18" fmla="*/ 865808 w 3877549"/>
              <a:gd name="connsiteY18" fmla="*/ 2386898 h 3657411"/>
              <a:gd name="connsiteX19" fmla="*/ 1005356 w 3877549"/>
              <a:gd name="connsiteY19" fmla="*/ 2376484 h 3657411"/>
              <a:gd name="connsiteX20" fmla="*/ 1017853 w 3877549"/>
              <a:gd name="connsiteY20" fmla="*/ 2509783 h 3657411"/>
              <a:gd name="connsiteX21" fmla="*/ 807489 w 3877549"/>
              <a:gd name="connsiteY21" fmla="*/ 2651414 h 3657411"/>
              <a:gd name="connsiteX22" fmla="*/ 545055 w 3877549"/>
              <a:gd name="connsiteY22" fmla="*/ 2618089 h 3657411"/>
              <a:gd name="connsiteX23" fmla="*/ 492985 w 3877549"/>
              <a:gd name="connsiteY23" fmla="*/ 2580599 h 3657411"/>
              <a:gd name="connsiteX24" fmla="*/ 474240 w 3877549"/>
              <a:gd name="connsiteY24" fmla="*/ 2566019 h 3657411"/>
              <a:gd name="connsiteX25" fmla="*/ 405507 w 3877549"/>
              <a:gd name="connsiteY25" fmla="*/ 2530611 h 3657411"/>
              <a:gd name="connsiteX26" fmla="*/ 282620 w 3877549"/>
              <a:gd name="connsiteY26" fmla="*/ 2547274 h 3657411"/>
              <a:gd name="connsiteX27" fmla="*/ 159735 w 3877549"/>
              <a:gd name="connsiteY27" fmla="*/ 2638917 h 3657411"/>
              <a:gd name="connsiteX28" fmla="*/ 95167 w 3877549"/>
              <a:gd name="connsiteY28" fmla="*/ 2663911 h 3657411"/>
              <a:gd name="connsiteX29" fmla="*/ 24352 w 3877549"/>
              <a:gd name="connsiteY29" fmla="*/ 2632669 h 3657411"/>
              <a:gd name="connsiteX30" fmla="*/ 30600 w 3877549"/>
              <a:gd name="connsiteY30" fmla="*/ 2497287 h 3657411"/>
              <a:gd name="connsiteX31" fmla="*/ 205556 w 3877549"/>
              <a:gd name="connsiteY31" fmla="*/ 2370235 h 3657411"/>
              <a:gd name="connsiteX32" fmla="*/ 392131 w 3877549"/>
              <a:gd name="connsiteY32" fmla="*/ 2333331 h 3657411"/>
              <a:gd name="connsiteX33" fmla="*/ 2355014 w 3877549"/>
              <a:gd name="connsiteY33" fmla="*/ 2126547 h 3657411"/>
              <a:gd name="connsiteX34" fmla="*/ 2259205 w 3877549"/>
              <a:gd name="connsiteY34" fmla="*/ 2222356 h 3657411"/>
              <a:gd name="connsiteX35" fmla="*/ 2355014 w 3877549"/>
              <a:gd name="connsiteY35" fmla="*/ 2318166 h 3657411"/>
              <a:gd name="connsiteX36" fmla="*/ 2634111 w 3877549"/>
              <a:gd name="connsiteY36" fmla="*/ 2318166 h 3657411"/>
              <a:gd name="connsiteX37" fmla="*/ 2729920 w 3877549"/>
              <a:gd name="connsiteY37" fmla="*/ 2222356 h 3657411"/>
              <a:gd name="connsiteX38" fmla="*/ 2634111 w 3877549"/>
              <a:gd name="connsiteY38" fmla="*/ 2126547 h 3657411"/>
              <a:gd name="connsiteX39" fmla="*/ 2569544 w 3877549"/>
              <a:gd name="connsiteY39" fmla="*/ 1705820 h 3657411"/>
              <a:gd name="connsiteX40" fmla="*/ 2473735 w 3877549"/>
              <a:gd name="connsiteY40" fmla="*/ 1801629 h 3657411"/>
              <a:gd name="connsiteX41" fmla="*/ 2569544 w 3877549"/>
              <a:gd name="connsiteY41" fmla="*/ 1897438 h 3657411"/>
              <a:gd name="connsiteX42" fmla="*/ 2848640 w 3877549"/>
              <a:gd name="connsiteY42" fmla="*/ 1897438 h 3657411"/>
              <a:gd name="connsiteX43" fmla="*/ 2944450 w 3877549"/>
              <a:gd name="connsiteY43" fmla="*/ 1801629 h 3657411"/>
              <a:gd name="connsiteX44" fmla="*/ 2848640 w 3877549"/>
              <a:gd name="connsiteY44" fmla="*/ 1705820 h 3657411"/>
              <a:gd name="connsiteX45" fmla="*/ 395385 w 3877549"/>
              <a:gd name="connsiteY45" fmla="*/ 1627259 h 3657411"/>
              <a:gd name="connsiteX46" fmla="*/ 453411 w 3877549"/>
              <a:gd name="connsiteY46" fmla="*/ 1637087 h 3657411"/>
              <a:gd name="connsiteX47" fmla="*/ 584628 w 3877549"/>
              <a:gd name="connsiteY47" fmla="*/ 1703737 h 3657411"/>
              <a:gd name="connsiteX48" fmla="*/ 607539 w 3877549"/>
              <a:gd name="connsiteY48" fmla="*/ 1720399 h 3657411"/>
              <a:gd name="connsiteX49" fmla="*/ 640864 w 3877549"/>
              <a:gd name="connsiteY49" fmla="*/ 1745393 h 3657411"/>
              <a:gd name="connsiteX50" fmla="*/ 753335 w 3877549"/>
              <a:gd name="connsiteY50" fmla="*/ 1759972 h 3657411"/>
              <a:gd name="connsiteX51" fmla="*/ 867890 w 3877549"/>
              <a:gd name="connsiteY51" fmla="*/ 1680826 h 3657411"/>
              <a:gd name="connsiteX52" fmla="*/ 1001190 w 3877549"/>
              <a:gd name="connsiteY52" fmla="*/ 1668329 h 3657411"/>
              <a:gd name="connsiteX53" fmla="*/ 1013686 w 3877549"/>
              <a:gd name="connsiteY53" fmla="*/ 1801629 h 3657411"/>
              <a:gd name="connsiteX54" fmla="*/ 803323 w 3877549"/>
              <a:gd name="connsiteY54" fmla="*/ 1943260 h 3657411"/>
              <a:gd name="connsiteX55" fmla="*/ 540889 w 3877549"/>
              <a:gd name="connsiteY55" fmla="*/ 1909935 h 3657411"/>
              <a:gd name="connsiteX56" fmla="*/ 488819 w 3877549"/>
              <a:gd name="connsiteY56" fmla="*/ 1872444 h 3657411"/>
              <a:gd name="connsiteX57" fmla="*/ 470073 w 3877549"/>
              <a:gd name="connsiteY57" fmla="*/ 1857864 h 3657411"/>
              <a:gd name="connsiteX58" fmla="*/ 401341 w 3877549"/>
              <a:gd name="connsiteY58" fmla="*/ 1822457 h 3657411"/>
              <a:gd name="connsiteX59" fmla="*/ 280537 w 3877549"/>
              <a:gd name="connsiteY59" fmla="*/ 1839119 h 3657411"/>
              <a:gd name="connsiteX60" fmla="*/ 157651 w 3877549"/>
              <a:gd name="connsiteY60" fmla="*/ 1930763 h 3657411"/>
              <a:gd name="connsiteX61" fmla="*/ 97249 w 3877549"/>
              <a:gd name="connsiteY61" fmla="*/ 1957839 h 3657411"/>
              <a:gd name="connsiteX62" fmla="*/ 26434 w 3877549"/>
              <a:gd name="connsiteY62" fmla="*/ 1926597 h 3657411"/>
              <a:gd name="connsiteX63" fmla="*/ 32682 w 3877549"/>
              <a:gd name="connsiteY63" fmla="*/ 1791215 h 3657411"/>
              <a:gd name="connsiteX64" fmla="*/ 207638 w 3877549"/>
              <a:gd name="connsiteY64" fmla="*/ 1664163 h 3657411"/>
              <a:gd name="connsiteX65" fmla="*/ 395385 w 3877549"/>
              <a:gd name="connsiteY65" fmla="*/ 1627259 h 3657411"/>
              <a:gd name="connsiteX66" fmla="*/ 2355014 w 3877549"/>
              <a:gd name="connsiteY66" fmla="*/ 1287175 h 3657411"/>
              <a:gd name="connsiteX67" fmla="*/ 2259205 w 3877549"/>
              <a:gd name="connsiteY67" fmla="*/ 1382985 h 3657411"/>
              <a:gd name="connsiteX68" fmla="*/ 2355014 w 3877549"/>
              <a:gd name="connsiteY68" fmla="*/ 1478794 h 3657411"/>
              <a:gd name="connsiteX69" fmla="*/ 2634111 w 3877549"/>
              <a:gd name="connsiteY69" fmla="*/ 1478794 h 3657411"/>
              <a:gd name="connsiteX70" fmla="*/ 2729920 w 3877549"/>
              <a:gd name="connsiteY70" fmla="*/ 1382985 h 3657411"/>
              <a:gd name="connsiteX71" fmla="*/ 2634111 w 3877549"/>
              <a:gd name="connsiteY71" fmla="*/ 1287175 h 3657411"/>
              <a:gd name="connsiteX72" fmla="*/ 392131 w 3877549"/>
              <a:gd name="connsiteY72" fmla="*/ 944098 h 3657411"/>
              <a:gd name="connsiteX73" fmla="*/ 451329 w 3877549"/>
              <a:gd name="connsiteY73" fmla="*/ 953926 h 3657411"/>
              <a:gd name="connsiteX74" fmla="*/ 582546 w 3877549"/>
              <a:gd name="connsiteY74" fmla="*/ 1020576 h 3657411"/>
              <a:gd name="connsiteX75" fmla="*/ 605457 w 3877549"/>
              <a:gd name="connsiteY75" fmla="*/ 1037238 h 3657411"/>
              <a:gd name="connsiteX76" fmla="*/ 638782 w 3877549"/>
              <a:gd name="connsiteY76" fmla="*/ 1062232 h 3657411"/>
              <a:gd name="connsiteX77" fmla="*/ 751253 w 3877549"/>
              <a:gd name="connsiteY77" fmla="*/ 1076811 h 3657411"/>
              <a:gd name="connsiteX78" fmla="*/ 865808 w 3877549"/>
              <a:gd name="connsiteY78" fmla="*/ 997665 h 3657411"/>
              <a:gd name="connsiteX79" fmla="*/ 1005356 w 3877549"/>
              <a:gd name="connsiteY79" fmla="*/ 989334 h 3657411"/>
              <a:gd name="connsiteX80" fmla="*/ 1017853 w 3877549"/>
              <a:gd name="connsiteY80" fmla="*/ 1122633 h 3657411"/>
              <a:gd name="connsiteX81" fmla="*/ 807489 w 3877549"/>
              <a:gd name="connsiteY81" fmla="*/ 1264264 h 3657411"/>
              <a:gd name="connsiteX82" fmla="*/ 545055 w 3877549"/>
              <a:gd name="connsiteY82" fmla="*/ 1228856 h 3657411"/>
              <a:gd name="connsiteX83" fmla="*/ 492985 w 3877549"/>
              <a:gd name="connsiteY83" fmla="*/ 1191366 h 3657411"/>
              <a:gd name="connsiteX84" fmla="*/ 474240 w 3877549"/>
              <a:gd name="connsiteY84" fmla="*/ 1176786 h 3657411"/>
              <a:gd name="connsiteX85" fmla="*/ 405507 w 3877549"/>
              <a:gd name="connsiteY85" fmla="*/ 1141378 h 3657411"/>
              <a:gd name="connsiteX86" fmla="*/ 282620 w 3877549"/>
              <a:gd name="connsiteY86" fmla="*/ 1158041 h 3657411"/>
              <a:gd name="connsiteX87" fmla="*/ 159735 w 3877549"/>
              <a:gd name="connsiteY87" fmla="*/ 1249685 h 3657411"/>
              <a:gd name="connsiteX88" fmla="*/ 95167 w 3877549"/>
              <a:gd name="connsiteY88" fmla="*/ 1274678 h 3657411"/>
              <a:gd name="connsiteX89" fmla="*/ 24352 w 3877549"/>
              <a:gd name="connsiteY89" fmla="*/ 1243436 h 3657411"/>
              <a:gd name="connsiteX90" fmla="*/ 30600 w 3877549"/>
              <a:gd name="connsiteY90" fmla="*/ 1108054 h 3657411"/>
              <a:gd name="connsiteX91" fmla="*/ 205556 w 3877549"/>
              <a:gd name="connsiteY91" fmla="*/ 981002 h 3657411"/>
              <a:gd name="connsiteX92" fmla="*/ 392131 w 3877549"/>
              <a:gd name="connsiteY92" fmla="*/ 944098 h 3657411"/>
              <a:gd name="connsiteX93" fmla="*/ 2569544 w 3877549"/>
              <a:gd name="connsiteY93" fmla="*/ 868531 h 3657411"/>
              <a:gd name="connsiteX94" fmla="*/ 2473735 w 3877549"/>
              <a:gd name="connsiteY94" fmla="*/ 964340 h 3657411"/>
              <a:gd name="connsiteX95" fmla="*/ 2569544 w 3877549"/>
              <a:gd name="connsiteY95" fmla="*/ 1060149 h 3657411"/>
              <a:gd name="connsiteX96" fmla="*/ 2848640 w 3877549"/>
              <a:gd name="connsiteY96" fmla="*/ 1060149 h 3657411"/>
              <a:gd name="connsiteX97" fmla="*/ 2944450 w 3877549"/>
              <a:gd name="connsiteY97" fmla="*/ 964340 h 3657411"/>
              <a:gd name="connsiteX98" fmla="*/ 2848640 w 3877549"/>
              <a:gd name="connsiteY98" fmla="*/ 868531 h 3657411"/>
              <a:gd name="connsiteX99" fmla="*/ 2355014 w 3877549"/>
              <a:gd name="connsiteY99" fmla="*/ 449887 h 3657411"/>
              <a:gd name="connsiteX100" fmla="*/ 2259205 w 3877549"/>
              <a:gd name="connsiteY100" fmla="*/ 545696 h 3657411"/>
              <a:gd name="connsiteX101" fmla="*/ 2355014 w 3877549"/>
              <a:gd name="connsiteY101" fmla="*/ 641505 h 3657411"/>
              <a:gd name="connsiteX102" fmla="*/ 2634111 w 3877549"/>
              <a:gd name="connsiteY102" fmla="*/ 641505 h 3657411"/>
              <a:gd name="connsiteX103" fmla="*/ 2729920 w 3877549"/>
              <a:gd name="connsiteY103" fmla="*/ 545696 h 3657411"/>
              <a:gd name="connsiteX104" fmla="*/ 2634111 w 3877549"/>
              <a:gd name="connsiteY104" fmla="*/ 449887 h 3657411"/>
              <a:gd name="connsiteX105" fmla="*/ 3296444 w 3877549"/>
              <a:gd name="connsiteY105" fmla="*/ 0 h 3657411"/>
              <a:gd name="connsiteX106" fmla="*/ 3781740 w 3877549"/>
              <a:gd name="connsiteY106" fmla="*/ 0 h 3657411"/>
              <a:gd name="connsiteX107" fmla="*/ 3877549 w 3877549"/>
              <a:gd name="connsiteY107" fmla="*/ 95809 h 3657411"/>
              <a:gd name="connsiteX108" fmla="*/ 3877549 w 3877549"/>
              <a:gd name="connsiteY108" fmla="*/ 3561602 h 3657411"/>
              <a:gd name="connsiteX109" fmla="*/ 3781740 w 3877549"/>
              <a:gd name="connsiteY109" fmla="*/ 3657411 h 3657411"/>
              <a:gd name="connsiteX110" fmla="*/ 3296444 w 3877549"/>
              <a:gd name="connsiteY110" fmla="*/ 3657411 h 3657411"/>
              <a:gd name="connsiteX111" fmla="*/ 2109243 w 3877549"/>
              <a:gd name="connsiteY111" fmla="*/ 0 h 3657411"/>
              <a:gd name="connsiteX112" fmla="*/ 3106909 w 3877549"/>
              <a:gd name="connsiteY112" fmla="*/ 0 h 3657411"/>
              <a:gd name="connsiteX113" fmla="*/ 3106909 w 3877549"/>
              <a:gd name="connsiteY113" fmla="*/ 3657411 h 3657411"/>
              <a:gd name="connsiteX114" fmla="*/ 2109243 w 3877549"/>
              <a:gd name="connsiteY114" fmla="*/ 3657411 h 3657411"/>
              <a:gd name="connsiteX115" fmla="*/ 1384425 w 3877549"/>
              <a:gd name="connsiteY115" fmla="*/ 0 h 3657411"/>
              <a:gd name="connsiteX116" fmla="*/ 1921791 w 3877549"/>
              <a:gd name="connsiteY116" fmla="*/ 0 h 3657411"/>
              <a:gd name="connsiteX117" fmla="*/ 1921791 w 3877549"/>
              <a:gd name="connsiteY117" fmla="*/ 3657411 h 3657411"/>
              <a:gd name="connsiteX118" fmla="*/ 1386508 w 3877549"/>
              <a:gd name="connsiteY118" fmla="*/ 3657411 h 3657411"/>
              <a:gd name="connsiteX119" fmla="*/ 1290699 w 3877549"/>
              <a:gd name="connsiteY119" fmla="*/ 3561602 h 3657411"/>
              <a:gd name="connsiteX120" fmla="*/ 1290699 w 3877549"/>
              <a:gd name="connsiteY120" fmla="*/ 95809 h 3657411"/>
              <a:gd name="connsiteX121" fmla="*/ 1384425 w 3877549"/>
              <a:gd name="connsiteY121" fmla="*/ 0 h 36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877549" h="3657411">
                <a:moveTo>
                  <a:pt x="2355014" y="2963836"/>
                </a:moveTo>
                <a:cubicBezTo>
                  <a:pt x="2302944" y="2963836"/>
                  <a:pt x="2259205" y="3007575"/>
                  <a:pt x="2259205" y="3059645"/>
                </a:cubicBezTo>
                <a:cubicBezTo>
                  <a:pt x="2259205" y="3111715"/>
                  <a:pt x="2302944" y="3155454"/>
                  <a:pt x="2355014" y="3155454"/>
                </a:cubicBezTo>
                <a:lnTo>
                  <a:pt x="2634111" y="3155454"/>
                </a:lnTo>
                <a:cubicBezTo>
                  <a:pt x="2688264" y="3155454"/>
                  <a:pt x="2729920" y="3111715"/>
                  <a:pt x="2729920" y="3059645"/>
                </a:cubicBezTo>
                <a:cubicBezTo>
                  <a:pt x="2729920" y="3007575"/>
                  <a:pt x="2686181" y="2963836"/>
                  <a:pt x="2634111" y="2963836"/>
                </a:cubicBezTo>
                <a:close/>
                <a:moveTo>
                  <a:pt x="2569544" y="2543109"/>
                </a:moveTo>
                <a:cubicBezTo>
                  <a:pt x="2517474" y="2543109"/>
                  <a:pt x="2473735" y="2586848"/>
                  <a:pt x="2473735" y="2638918"/>
                </a:cubicBezTo>
                <a:cubicBezTo>
                  <a:pt x="2473735" y="2690988"/>
                  <a:pt x="2517474" y="2734727"/>
                  <a:pt x="2569544" y="2734727"/>
                </a:cubicBezTo>
                <a:lnTo>
                  <a:pt x="2848640" y="2734727"/>
                </a:lnTo>
                <a:cubicBezTo>
                  <a:pt x="2900710" y="2734727"/>
                  <a:pt x="2944450" y="2693071"/>
                  <a:pt x="2944450" y="2638918"/>
                </a:cubicBezTo>
                <a:cubicBezTo>
                  <a:pt x="2944450" y="2586848"/>
                  <a:pt x="2900710" y="2543109"/>
                  <a:pt x="2848640" y="2543109"/>
                </a:cubicBezTo>
                <a:close/>
                <a:moveTo>
                  <a:pt x="392131" y="2333331"/>
                </a:moveTo>
                <a:cubicBezTo>
                  <a:pt x="412276" y="2334698"/>
                  <a:pt x="432063" y="2337952"/>
                  <a:pt x="451329" y="2343159"/>
                </a:cubicBezTo>
                <a:cubicBezTo>
                  <a:pt x="495068" y="2355656"/>
                  <a:pt x="538807" y="2376484"/>
                  <a:pt x="582546" y="2409809"/>
                </a:cubicBezTo>
                <a:cubicBezTo>
                  <a:pt x="590877" y="2416057"/>
                  <a:pt x="597125" y="2420223"/>
                  <a:pt x="605457" y="2426471"/>
                </a:cubicBezTo>
                <a:cubicBezTo>
                  <a:pt x="615871" y="2434802"/>
                  <a:pt x="626285" y="2445216"/>
                  <a:pt x="638782" y="2451465"/>
                </a:cubicBezTo>
                <a:cubicBezTo>
                  <a:pt x="670024" y="2472293"/>
                  <a:pt x="711680" y="2476459"/>
                  <a:pt x="751253" y="2466044"/>
                </a:cubicBezTo>
                <a:cubicBezTo>
                  <a:pt x="792910" y="2453548"/>
                  <a:pt x="832483" y="2426471"/>
                  <a:pt x="865808" y="2386898"/>
                </a:cubicBezTo>
                <a:cubicBezTo>
                  <a:pt x="899133" y="2345242"/>
                  <a:pt x="959534" y="2338993"/>
                  <a:pt x="1005356" y="2376484"/>
                </a:cubicBezTo>
                <a:cubicBezTo>
                  <a:pt x="1044929" y="2409809"/>
                  <a:pt x="1051178" y="2470210"/>
                  <a:pt x="1017853" y="2509783"/>
                </a:cubicBezTo>
                <a:cubicBezTo>
                  <a:pt x="959534" y="2580599"/>
                  <a:pt x="886636" y="2628503"/>
                  <a:pt x="807489" y="2651414"/>
                </a:cubicBezTo>
                <a:cubicBezTo>
                  <a:pt x="717928" y="2676408"/>
                  <a:pt x="622119" y="2663911"/>
                  <a:pt x="545055" y="2618089"/>
                </a:cubicBezTo>
                <a:cubicBezTo>
                  <a:pt x="526310" y="2605593"/>
                  <a:pt x="507565" y="2593096"/>
                  <a:pt x="492985" y="2580599"/>
                </a:cubicBezTo>
                <a:cubicBezTo>
                  <a:pt x="486737" y="2574350"/>
                  <a:pt x="480488" y="2570185"/>
                  <a:pt x="474240" y="2566019"/>
                </a:cubicBezTo>
                <a:cubicBezTo>
                  <a:pt x="449246" y="2547274"/>
                  <a:pt x="426335" y="2536860"/>
                  <a:pt x="405507" y="2530611"/>
                </a:cubicBezTo>
                <a:cubicBezTo>
                  <a:pt x="361767" y="2520197"/>
                  <a:pt x="313862" y="2532694"/>
                  <a:pt x="282620" y="2547274"/>
                </a:cubicBezTo>
                <a:cubicBezTo>
                  <a:pt x="238881" y="2566019"/>
                  <a:pt x="238881" y="2566019"/>
                  <a:pt x="159735" y="2638917"/>
                </a:cubicBezTo>
                <a:cubicBezTo>
                  <a:pt x="140989" y="2655580"/>
                  <a:pt x="118078" y="2663911"/>
                  <a:pt x="95167" y="2663911"/>
                </a:cubicBezTo>
                <a:cubicBezTo>
                  <a:pt x="68091" y="2663911"/>
                  <a:pt x="43097" y="2653497"/>
                  <a:pt x="24352" y="2632669"/>
                </a:cubicBezTo>
                <a:cubicBezTo>
                  <a:pt x="-11056" y="2593096"/>
                  <a:pt x="-6890" y="2532694"/>
                  <a:pt x="30600" y="2497287"/>
                </a:cubicBezTo>
                <a:cubicBezTo>
                  <a:pt x="122244" y="2411891"/>
                  <a:pt x="132658" y="2401477"/>
                  <a:pt x="205556" y="2370235"/>
                </a:cubicBezTo>
                <a:cubicBezTo>
                  <a:pt x="268041" y="2342118"/>
                  <a:pt x="331697" y="2329230"/>
                  <a:pt x="392131" y="2333331"/>
                </a:cubicBezTo>
                <a:close/>
                <a:moveTo>
                  <a:pt x="2355014" y="2126547"/>
                </a:moveTo>
                <a:cubicBezTo>
                  <a:pt x="2302944" y="2126547"/>
                  <a:pt x="2259205" y="2168203"/>
                  <a:pt x="2259205" y="2222356"/>
                </a:cubicBezTo>
                <a:cubicBezTo>
                  <a:pt x="2259205" y="2274426"/>
                  <a:pt x="2302944" y="2318166"/>
                  <a:pt x="2355014" y="2318166"/>
                </a:cubicBezTo>
                <a:lnTo>
                  <a:pt x="2634111" y="2318166"/>
                </a:lnTo>
                <a:cubicBezTo>
                  <a:pt x="2688264" y="2318166"/>
                  <a:pt x="2729920" y="2274426"/>
                  <a:pt x="2729920" y="2222356"/>
                </a:cubicBezTo>
                <a:cubicBezTo>
                  <a:pt x="2729920" y="2170286"/>
                  <a:pt x="2686181" y="2126547"/>
                  <a:pt x="2634111" y="2126547"/>
                </a:cubicBezTo>
                <a:close/>
                <a:moveTo>
                  <a:pt x="2569544" y="1705820"/>
                </a:moveTo>
                <a:cubicBezTo>
                  <a:pt x="2517474" y="1705820"/>
                  <a:pt x="2473735" y="1749559"/>
                  <a:pt x="2473735" y="1801629"/>
                </a:cubicBezTo>
                <a:cubicBezTo>
                  <a:pt x="2473735" y="1853699"/>
                  <a:pt x="2517474" y="1897438"/>
                  <a:pt x="2569544" y="1897438"/>
                </a:cubicBezTo>
                <a:lnTo>
                  <a:pt x="2848640" y="1897438"/>
                </a:lnTo>
                <a:cubicBezTo>
                  <a:pt x="2900710" y="1897438"/>
                  <a:pt x="2944450" y="1853699"/>
                  <a:pt x="2944450" y="1801629"/>
                </a:cubicBezTo>
                <a:cubicBezTo>
                  <a:pt x="2944450" y="1749559"/>
                  <a:pt x="2900710" y="1705820"/>
                  <a:pt x="2848640" y="1705820"/>
                </a:cubicBezTo>
                <a:close/>
                <a:moveTo>
                  <a:pt x="395385" y="1627259"/>
                </a:moveTo>
                <a:cubicBezTo>
                  <a:pt x="415269" y="1628626"/>
                  <a:pt x="434665" y="1631880"/>
                  <a:pt x="453411" y="1637087"/>
                </a:cubicBezTo>
                <a:cubicBezTo>
                  <a:pt x="497150" y="1649584"/>
                  <a:pt x="540889" y="1670412"/>
                  <a:pt x="584628" y="1703737"/>
                </a:cubicBezTo>
                <a:cubicBezTo>
                  <a:pt x="592959" y="1709985"/>
                  <a:pt x="599207" y="1714151"/>
                  <a:pt x="607539" y="1720399"/>
                </a:cubicBezTo>
                <a:cubicBezTo>
                  <a:pt x="617953" y="1728730"/>
                  <a:pt x="628367" y="1739144"/>
                  <a:pt x="640864" y="1745393"/>
                </a:cubicBezTo>
                <a:cubicBezTo>
                  <a:pt x="672106" y="1766221"/>
                  <a:pt x="713762" y="1770387"/>
                  <a:pt x="753335" y="1759972"/>
                </a:cubicBezTo>
                <a:cubicBezTo>
                  <a:pt x="794992" y="1747476"/>
                  <a:pt x="834565" y="1720399"/>
                  <a:pt x="867890" y="1680826"/>
                </a:cubicBezTo>
                <a:cubicBezTo>
                  <a:pt x="901215" y="1641252"/>
                  <a:pt x="961616" y="1635004"/>
                  <a:pt x="1001190" y="1668329"/>
                </a:cubicBezTo>
                <a:cubicBezTo>
                  <a:pt x="1040763" y="1701654"/>
                  <a:pt x="1047011" y="1762055"/>
                  <a:pt x="1013686" y="1801629"/>
                </a:cubicBezTo>
                <a:cubicBezTo>
                  <a:pt x="955368" y="1872444"/>
                  <a:pt x="882470" y="1920349"/>
                  <a:pt x="803323" y="1943260"/>
                </a:cubicBezTo>
                <a:cubicBezTo>
                  <a:pt x="713762" y="1968253"/>
                  <a:pt x="617953" y="1955756"/>
                  <a:pt x="540889" y="1909935"/>
                </a:cubicBezTo>
                <a:cubicBezTo>
                  <a:pt x="522144" y="1897438"/>
                  <a:pt x="503398" y="1884941"/>
                  <a:pt x="488819" y="1872444"/>
                </a:cubicBezTo>
                <a:cubicBezTo>
                  <a:pt x="482570" y="1866196"/>
                  <a:pt x="476322" y="1862030"/>
                  <a:pt x="470073" y="1857864"/>
                </a:cubicBezTo>
                <a:cubicBezTo>
                  <a:pt x="445080" y="1839119"/>
                  <a:pt x="422169" y="1828705"/>
                  <a:pt x="401341" y="1822457"/>
                </a:cubicBezTo>
                <a:cubicBezTo>
                  <a:pt x="359683" y="1812043"/>
                  <a:pt x="311779" y="1824539"/>
                  <a:pt x="280537" y="1839119"/>
                </a:cubicBezTo>
                <a:cubicBezTo>
                  <a:pt x="236798" y="1857864"/>
                  <a:pt x="236798" y="1857864"/>
                  <a:pt x="157651" y="1930763"/>
                </a:cubicBezTo>
                <a:cubicBezTo>
                  <a:pt x="138906" y="1945342"/>
                  <a:pt x="115995" y="1955756"/>
                  <a:pt x="97249" y="1957839"/>
                </a:cubicBezTo>
                <a:cubicBezTo>
                  <a:pt x="70173" y="1957839"/>
                  <a:pt x="45179" y="1947425"/>
                  <a:pt x="26434" y="1926597"/>
                </a:cubicBezTo>
                <a:cubicBezTo>
                  <a:pt x="-8974" y="1887024"/>
                  <a:pt x="-4808" y="1826622"/>
                  <a:pt x="32682" y="1791215"/>
                </a:cubicBezTo>
                <a:cubicBezTo>
                  <a:pt x="124326" y="1703737"/>
                  <a:pt x="134740" y="1695405"/>
                  <a:pt x="207638" y="1664163"/>
                </a:cubicBezTo>
                <a:cubicBezTo>
                  <a:pt x="271685" y="1636046"/>
                  <a:pt x="335732" y="1623158"/>
                  <a:pt x="395385" y="1627259"/>
                </a:cubicBezTo>
                <a:close/>
                <a:moveTo>
                  <a:pt x="2355014" y="1287175"/>
                </a:moveTo>
                <a:cubicBezTo>
                  <a:pt x="2302944" y="1287175"/>
                  <a:pt x="2259205" y="1330914"/>
                  <a:pt x="2259205" y="1382985"/>
                </a:cubicBezTo>
                <a:cubicBezTo>
                  <a:pt x="2259205" y="1435055"/>
                  <a:pt x="2302944" y="1478794"/>
                  <a:pt x="2355014" y="1478794"/>
                </a:cubicBezTo>
                <a:lnTo>
                  <a:pt x="2634111" y="1478794"/>
                </a:lnTo>
                <a:cubicBezTo>
                  <a:pt x="2688264" y="1478794"/>
                  <a:pt x="2729920" y="1435055"/>
                  <a:pt x="2729920" y="1382985"/>
                </a:cubicBezTo>
                <a:cubicBezTo>
                  <a:pt x="2729920" y="1330914"/>
                  <a:pt x="2686181" y="1287175"/>
                  <a:pt x="2634111" y="1287175"/>
                </a:cubicBezTo>
                <a:close/>
                <a:moveTo>
                  <a:pt x="392131" y="944098"/>
                </a:moveTo>
                <a:cubicBezTo>
                  <a:pt x="412276" y="945465"/>
                  <a:pt x="432063" y="948719"/>
                  <a:pt x="451329" y="953926"/>
                </a:cubicBezTo>
                <a:cubicBezTo>
                  <a:pt x="495068" y="966423"/>
                  <a:pt x="538807" y="987251"/>
                  <a:pt x="582546" y="1020576"/>
                </a:cubicBezTo>
                <a:cubicBezTo>
                  <a:pt x="590877" y="1026824"/>
                  <a:pt x="597125" y="1030990"/>
                  <a:pt x="605457" y="1037238"/>
                </a:cubicBezTo>
                <a:cubicBezTo>
                  <a:pt x="615871" y="1045569"/>
                  <a:pt x="626285" y="1055983"/>
                  <a:pt x="638782" y="1062232"/>
                </a:cubicBezTo>
                <a:cubicBezTo>
                  <a:pt x="670024" y="1083060"/>
                  <a:pt x="711680" y="1087226"/>
                  <a:pt x="751253" y="1076811"/>
                </a:cubicBezTo>
                <a:cubicBezTo>
                  <a:pt x="792910" y="1064315"/>
                  <a:pt x="832483" y="1037238"/>
                  <a:pt x="865808" y="997665"/>
                </a:cubicBezTo>
                <a:cubicBezTo>
                  <a:pt x="899133" y="956009"/>
                  <a:pt x="959534" y="951843"/>
                  <a:pt x="1005356" y="989334"/>
                </a:cubicBezTo>
                <a:cubicBezTo>
                  <a:pt x="1044929" y="1022658"/>
                  <a:pt x="1051178" y="1083060"/>
                  <a:pt x="1017853" y="1122633"/>
                </a:cubicBezTo>
                <a:cubicBezTo>
                  <a:pt x="959534" y="1193449"/>
                  <a:pt x="886636" y="1241353"/>
                  <a:pt x="807489" y="1264264"/>
                </a:cubicBezTo>
                <a:cubicBezTo>
                  <a:pt x="717928" y="1289258"/>
                  <a:pt x="622119" y="1276761"/>
                  <a:pt x="545055" y="1228856"/>
                </a:cubicBezTo>
                <a:cubicBezTo>
                  <a:pt x="526310" y="1216360"/>
                  <a:pt x="507565" y="1203863"/>
                  <a:pt x="492985" y="1191366"/>
                </a:cubicBezTo>
                <a:cubicBezTo>
                  <a:pt x="486737" y="1185118"/>
                  <a:pt x="480488" y="1180952"/>
                  <a:pt x="474240" y="1176786"/>
                </a:cubicBezTo>
                <a:cubicBezTo>
                  <a:pt x="449246" y="1158041"/>
                  <a:pt x="426335" y="1147627"/>
                  <a:pt x="405507" y="1141378"/>
                </a:cubicBezTo>
                <a:cubicBezTo>
                  <a:pt x="361767" y="1130964"/>
                  <a:pt x="313862" y="1143461"/>
                  <a:pt x="282620" y="1158041"/>
                </a:cubicBezTo>
                <a:cubicBezTo>
                  <a:pt x="238881" y="1176786"/>
                  <a:pt x="238881" y="1176786"/>
                  <a:pt x="159735" y="1249685"/>
                </a:cubicBezTo>
                <a:cubicBezTo>
                  <a:pt x="140989" y="1266347"/>
                  <a:pt x="118078" y="1274678"/>
                  <a:pt x="95167" y="1274678"/>
                </a:cubicBezTo>
                <a:cubicBezTo>
                  <a:pt x="68091" y="1274678"/>
                  <a:pt x="43097" y="1264264"/>
                  <a:pt x="24352" y="1243436"/>
                </a:cubicBezTo>
                <a:cubicBezTo>
                  <a:pt x="-11056" y="1203863"/>
                  <a:pt x="-6890" y="1143461"/>
                  <a:pt x="30600" y="1108054"/>
                </a:cubicBezTo>
                <a:cubicBezTo>
                  <a:pt x="122244" y="1020576"/>
                  <a:pt x="132658" y="1012244"/>
                  <a:pt x="205556" y="981002"/>
                </a:cubicBezTo>
                <a:cubicBezTo>
                  <a:pt x="268041" y="952885"/>
                  <a:pt x="331697" y="939997"/>
                  <a:pt x="392131" y="944098"/>
                </a:cubicBezTo>
                <a:close/>
                <a:moveTo>
                  <a:pt x="2569544" y="868531"/>
                </a:moveTo>
                <a:cubicBezTo>
                  <a:pt x="2517474" y="868531"/>
                  <a:pt x="2473735" y="912270"/>
                  <a:pt x="2473735" y="964340"/>
                </a:cubicBezTo>
                <a:cubicBezTo>
                  <a:pt x="2473735" y="1016410"/>
                  <a:pt x="2517474" y="1060149"/>
                  <a:pt x="2569544" y="1060149"/>
                </a:cubicBezTo>
                <a:lnTo>
                  <a:pt x="2848640" y="1060149"/>
                </a:lnTo>
                <a:cubicBezTo>
                  <a:pt x="2900710" y="1060149"/>
                  <a:pt x="2944450" y="1016410"/>
                  <a:pt x="2944450" y="964340"/>
                </a:cubicBezTo>
                <a:cubicBezTo>
                  <a:pt x="2944450" y="912270"/>
                  <a:pt x="2900710" y="868531"/>
                  <a:pt x="2848640" y="868531"/>
                </a:cubicBezTo>
                <a:close/>
                <a:moveTo>
                  <a:pt x="2355014" y="449887"/>
                </a:moveTo>
                <a:cubicBezTo>
                  <a:pt x="2302944" y="449887"/>
                  <a:pt x="2259205" y="491543"/>
                  <a:pt x="2259205" y="545696"/>
                </a:cubicBezTo>
                <a:cubicBezTo>
                  <a:pt x="2259205" y="597766"/>
                  <a:pt x="2302944" y="641505"/>
                  <a:pt x="2355014" y="641505"/>
                </a:cubicBezTo>
                <a:lnTo>
                  <a:pt x="2634111" y="641505"/>
                </a:lnTo>
                <a:cubicBezTo>
                  <a:pt x="2688264" y="641505"/>
                  <a:pt x="2729920" y="597766"/>
                  <a:pt x="2729920" y="545696"/>
                </a:cubicBezTo>
                <a:cubicBezTo>
                  <a:pt x="2729920" y="493626"/>
                  <a:pt x="2686181" y="449887"/>
                  <a:pt x="2634111" y="449887"/>
                </a:cubicBezTo>
                <a:close/>
                <a:moveTo>
                  <a:pt x="3296444" y="0"/>
                </a:moveTo>
                <a:lnTo>
                  <a:pt x="3781740" y="0"/>
                </a:lnTo>
                <a:cubicBezTo>
                  <a:pt x="3833810" y="0"/>
                  <a:pt x="3877549" y="43739"/>
                  <a:pt x="3877549" y="95809"/>
                </a:cubicBezTo>
                <a:lnTo>
                  <a:pt x="3877549" y="3561602"/>
                </a:lnTo>
                <a:cubicBezTo>
                  <a:pt x="3877549" y="3613672"/>
                  <a:pt x="3833810" y="3657411"/>
                  <a:pt x="3781740" y="3657411"/>
                </a:cubicBezTo>
                <a:lnTo>
                  <a:pt x="3296444" y="3657411"/>
                </a:lnTo>
                <a:close/>
                <a:moveTo>
                  <a:pt x="2109243" y="0"/>
                </a:moveTo>
                <a:lnTo>
                  <a:pt x="3106909" y="0"/>
                </a:lnTo>
                <a:lnTo>
                  <a:pt x="3106909" y="3657411"/>
                </a:lnTo>
                <a:lnTo>
                  <a:pt x="2109243" y="3657411"/>
                </a:lnTo>
                <a:close/>
                <a:moveTo>
                  <a:pt x="1384425" y="0"/>
                </a:moveTo>
                <a:lnTo>
                  <a:pt x="1921791" y="0"/>
                </a:lnTo>
                <a:lnTo>
                  <a:pt x="1921791" y="3657411"/>
                </a:lnTo>
                <a:lnTo>
                  <a:pt x="1386508" y="3657411"/>
                </a:lnTo>
                <a:cubicBezTo>
                  <a:pt x="1334438" y="3657411"/>
                  <a:pt x="1290699" y="3613672"/>
                  <a:pt x="1290699" y="3561602"/>
                </a:cubicBezTo>
                <a:lnTo>
                  <a:pt x="1290699" y="95809"/>
                </a:lnTo>
                <a:cubicBezTo>
                  <a:pt x="1290699" y="43739"/>
                  <a:pt x="1332355" y="0"/>
                  <a:pt x="1384425" y="0"/>
                </a:cubicBezTo>
                <a:close/>
              </a:path>
            </a:pathLst>
          </a:custGeom>
          <a:solidFill>
            <a:srgbClr val="4489BC">
              <a:alpha val="92549"/>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24" name="Freeform 10">
            <a:extLst>
              <a:ext uri="{FF2B5EF4-FFF2-40B4-BE49-F238E27FC236}">
                <a16:creationId xmlns:a16="http://schemas.microsoft.com/office/drawing/2014/main" id="{08411823-DEB0-4449-A479-1E04AF16315D}"/>
              </a:ext>
            </a:extLst>
          </p:cNvPr>
          <p:cNvSpPr>
            <a:spLocks noEditPoints="1"/>
          </p:cNvSpPr>
          <p:nvPr/>
        </p:nvSpPr>
        <p:spPr bwMode="auto">
          <a:xfrm>
            <a:off x="4000823" y="6454798"/>
            <a:ext cx="167817" cy="137589"/>
          </a:xfrm>
          <a:custGeom>
            <a:avLst/>
            <a:gdLst>
              <a:gd name="T0" fmla="*/ 1219 w 4330"/>
              <a:gd name="T1" fmla="*/ 2991 h 3551"/>
              <a:gd name="T2" fmla="*/ 1086 w 4330"/>
              <a:gd name="T3" fmla="*/ 3227 h 3551"/>
              <a:gd name="T4" fmla="*/ 3008 w 4330"/>
              <a:gd name="T5" fmla="*/ 3142 h 3551"/>
              <a:gd name="T6" fmla="*/ 2930 w 4330"/>
              <a:gd name="T7" fmla="*/ 2878 h 3551"/>
              <a:gd name="T8" fmla="*/ 1372 w 4330"/>
              <a:gd name="T9" fmla="*/ 2810 h 3551"/>
              <a:gd name="T10" fmla="*/ 3348 w 4330"/>
              <a:gd name="T11" fmla="*/ 2712 h 3551"/>
              <a:gd name="T12" fmla="*/ 3241 w 4330"/>
              <a:gd name="T13" fmla="*/ 2842 h 3551"/>
              <a:gd name="T14" fmla="*/ 3291 w 4330"/>
              <a:gd name="T15" fmla="*/ 3005 h 3551"/>
              <a:gd name="T16" fmla="*/ 3454 w 4330"/>
              <a:gd name="T17" fmla="*/ 3054 h 3551"/>
              <a:gd name="T18" fmla="*/ 3584 w 4330"/>
              <a:gd name="T19" fmla="*/ 2948 h 3551"/>
              <a:gd name="T20" fmla="*/ 3567 w 4330"/>
              <a:gd name="T21" fmla="*/ 2777 h 3551"/>
              <a:gd name="T22" fmla="*/ 3419 w 4330"/>
              <a:gd name="T23" fmla="*/ 2697 h 3551"/>
              <a:gd name="T24" fmla="*/ 616 w 4330"/>
              <a:gd name="T25" fmla="*/ 2751 h 3551"/>
              <a:gd name="T26" fmla="*/ 567 w 4330"/>
              <a:gd name="T27" fmla="*/ 2914 h 3551"/>
              <a:gd name="T28" fmla="*/ 674 w 4330"/>
              <a:gd name="T29" fmla="*/ 3044 h 3551"/>
              <a:gd name="T30" fmla="*/ 844 w 4330"/>
              <a:gd name="T31" fmla="*/ 3027 h 3551"/>
              <a:gd name="T32" fmla="*/ 923 w 4330"/>
              <a:gd name="T33" fmla="*/ 2878 h 3551"/>
              <a:gd name="T34" fmla="*/ 844 w 4330"/>
              <a:gd name="T35" fmla="*/ 2729 h 3551"/>
              <a:gd name="T36" fmla="*/ 2749 w 4330"/>
              <a:gd name="T37" fmla="*/ 7 h 3551"/>
              <a:gd name="T38" fmla="*/ 2962 w 4330"/>
              <a:gd name="T39" fmla="*/ 132 h 3551"/>
              <a:gd name="T40" fmla="*/ 3040 w 4330"/>
              <a:gd name="T41" fmla="*/ 360 h 3551"/>
              <a:gd name="T42" fmla="*/ 2966 w 4330"/>
              <a:gd name="T43" fmla="*/ 564 h 3551"/>
              <a:gd name="T44" fmla="*/ 3278 w 4330"/>
              <a:gd name="T45" fmla="*/ 480 h 3551"/>
              <a:gd name="T46" fmla="*/ 3454 w 4330"/>
              <a:gd name="T47" fmla="*/ 371 h 3551"/>
              <a:gd name="T48" fmla="*/ 3673 w 4330"/>
              <a:gd name="T49" fmla="*/ 397 h 3551"/>
              <a:gd name="T50" fmla="*/ 3822 w 4330"/>
              <a:gd name="T51" fmla="*/ 553 h 3551"/>
              <a:gd name="T52" fmla="*/ 3752 w 4330"/>
              <a:gd name="T53" fmla="*/ 895 h 3551"/>
              <a:gd name="T54" fmla="*/ 3817 w 4330"/>
              <a:gd name="T55" fmla="*/ 1887 h 3551"/>
              <a:gd name="T56" fmla="*/ 3721 w 4330"/>
              <a:gd name="T57" fmla="*/ 2299 h 3551"/>
              <a:gd name="T58" fmla="*/ 3776 w 4330"/>
              <a:gd name="T59" fmla="*/ 2546 h 3551"/>
              <a:gd name="T60" fmla="*/ 3902 w 4330"/>
              <a:gd name="T61" fmla="*/ 2815 h 3551"/>
              <a:gd name="T62" fmla="*/ 3856 w 4330"/>
              <a:gd name="T63" fmla="*/ 3095 h 3551"/>
              <a:gd name="T64" fmla="*/ 4330 w 4330"/>
              <a:gd name="T65" fmla="*/ 3262 h 3551"/>
              <a:gd name="T66" fmla="*/ 401 w 4330"/>
              <a:gd name="T67" fmla="*/ 3227 h 3551"/>
              <a:gd name="T68" fmla="*/ 268 w 4330"/>
              <a:gd name="T69" fmla="*/ 2991 h 3551"/>
              <a:gd name="T70" fmla="*/ 286 w 4330"/>
              <a:gd name="T71" fmla="*/ 2702 h 3551"/>
              <a:gd name="T72" fmla="*/ 461 w 4330"/>
              <a:gd name="T73" fmla="*/ 2479 h 3551"/>
              <a:gd name="T74" fmla="*/ 637 w 4330"/>
              <a:gd name="T75" fmla="*/ 2329 h 3551"/>
              <a:gd name="T76" fmla="*/ 528 w 4330"/>
              <a:gd name="T77" fmla="*/ 1967 h 3551"/>
              <a:gd name="T78" fmla="*/ 3342 w 4330"/>
              <a:gd name="T79" fmla="*/ 921 h 3551"/>
              <a:gd name="T80" fmla="*/ 1242 w 4330"/>
              <a:gd name="T81" fmla="*/ 916 h 3551"/>
              <a:gd name="T82" fmla="*/ 992 w 4330"/>
              <a:gd name="T83" fmla="*/ 928 h 3551"/>
              <a:gd name="T84" fmla="*/ 144 w 4330"/>
              <a:gd name="T85" fmla="*/ 594 h 3551"/>
              <a:gd name="T86" fmla="*/ 779 w 4330"/>
              <a:gd name="T87" fmla="*/ 446 h 3551"/>
              <a:gd name="T88" fmla="*/ 935 w 4330"/>
              <a:gd name="T89" fmla="*/ 289 h 3551"/>
              <a:gd name="T90" fmla="*/ 1161 w 4330"/>
              <a:gd name="T91" fmla="*/ 258 h 3551"/>
              <a:gd name="T92" fmla="*/ 1371 w 4330"/>
              <a:gd name="T93" fmla="*/ 377 h 3551"/>
              <a:gd name="T94" fmla="*/ 1454 w 4330"/>
              <a:gd name="T95" fmla="*/ 594 h 3551"/>
              <a:gd name="T96" fmla="*/ 1572 w 4330"/>
              <a:gd name="T97" fmla="*/ 419 h 3551"/>
              <a:gd name="T98" fmla="*/ 1657 w 4330"/>
              <a:gd name="T99" fmla="*/ 209 h 3551"/>
              <a:gd name="T100" fmla="*/ 1849 w 4330"/>
              <a:gd name="T101" fmla="*/ 97 h 3551"/>
              <a:gd name="T102" fmla="*/ 2088 w 4330"/>
              <a:gd name="T103" fmla="*/ 128 h 3551"/>
              <a:gd name="T104" fmla="*/ 2255 w 4330"/>
              <a:gd name="T105" fmla="*/ 304 h 3551"/>
              <a:gd name="T106" fmla="*/ 2264 w 4330"/>
              <a:gd name="T107" fmla="*/ 549 h 3551"/>
              <a:gd name="T108" fmla="*/ 2357 w 4330"/>
              <a:gd name="T109" fmla="*/ 476 h 3551"/>
              <a:gd name="T110" fmla="*/ 2348 w 4330"/>
              <a:gd name="T111" fmla="*/ 237 h 3551"/>
              <a:gd name="T112" fmla="*/ 2484 w 4330"/>
              <a:gd name="T113" fmla="*/ 61 h 3551"/>
              <a:gd name="T114" fmla="*/ 2700 w 4330"/>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30" h="3551">
                <a:moveTo>
                  <a:pt x="1223" y="2785"/>
                </a:moveTo>
                <a:lnTo>
                  <a:pt x="1229" y="2831"/>
                </a:lnTo>
                <a:lnTo>
                  <a:pt x="1232" y="2878"/>
                </a:lnTo>
                <a:lnTo>
                  <a:pt x="1228" y="2935"/>
                </a:lnTo>
                <a:lnTo>
                  <a:pt x="1219" y="2991"/>
                </a:lnTo>
                <a:lnTo>
                  <a:pt x="1203" y="3044"/>
                </a:lnTo>
                <a:lnTo>
                  <a:pt x="1181" y="3095"/>
                </a:lnTo>
                <a:lnTo>
                  <a:pt x="1154" y="3142"/>
                </a:lnTo>
                <a:lnTo>
                  <a:pt x="1122" y="3186"/>
                </a:lnTo>
                <a:lnTo>
                  <a:pt x="1086" y="3227"/>
                </a:lnTo>
                <a:lnTo>
                  <a:pt x="1045" y="3262"/>
                </a:lnTo>
                <a:lnTo>
                  <a:pt x="3117" y="3262"/>
                </a:lnTo>
                <a:lnTo>
                  <a:pt x="3076" y="3227"/>
                </a:lnTo>
                <a:lnTo>
                  <a:pt x="3039" y="3186"/>
                </a:lnTo>
                <a:lnTo>
                  <a:pt x="3008" y="3142"/>
                </a:lnTo>
                <a:lnTo>
                  <a:pt x="2980" y="3095"/>
                </a:lnTo>
                <a:lnTo>
                  <a:pt x="2959" y="3044"/>
                </a:lnTo>
                <a:lnTo>
                  <a:pt x="2943" y="2991"/>
                </a:lnTo>
                <a:lnTo>
                  <a:pt x="2933" y="2935"/>
                </a:lnTo>
                <a:lnTo>
                  <a:pt x="2930" y="2878"/>
                </a:lnTo>
                <a:lnTo>
                  <a:pt x="2930" y="2844"/>
                </a:lnTo>
                <a:lnTo>
                  <a:pt x="2934" y="2813"/>
                </a:lnTo>
                <a:lnTo>
                  <a:pt x="2891" y="2814"/>
                </a:lnTo>
                <a:lnTo>
                  <a:pt x="1450" y="2814"/>
                </a:lnTo>
                <a:lnTo>
                  <a:pt x="1372" y="2810"/>
                </a:lnTo>
                <a:lnTo>
                  <a:pt x="1296" y="2801"/>
                </a:lnTo>
                <a:lnTo>
                  <a:pt x="1223" y="2785"/>
                </a:lnTo>
                <a:close/>
                <a:moveTo>
                  <a:pt x="3419" y="2697"/>
                </a:moveTo>
                <a:lnTo>
                  <a:pt x="3382" y="2701"/>
                </a:lnTo>
                <a:lnTo>
                  <a:pt x="3348" y="2712"/>
                </a:lnTo>
                <a:lnTo>
                  <a:pt x="3317" y="2729"/>
                </a:lnTo>
                <a:lnTo>
                  <a:pt x="3291" y="2751"/>
                </a:lnTo>
                <a:lnTo>
                  <a:pt x="3269" y="2777"/>
                </a:lnTo>
                <a:lnTo>
                  <a:pt x="3252" y="2807"/>
                </a:lnTo>
                <a:lnTo>
                  <a:pt x="3241" y="2842"/>
                </a:lnTo>
                <a:lnTo>
                  <a:pt x="3237" y="2878"/>
                </a:lnTo>
                <a:lnTo>
                  <a:pt x="3241" y="2914"/>
                </a:lnTo>
                <a:lnTo>
                  <a:pt x="3252" y="2948"/>
                </a:lnTo>
                <a:lnTo>
                  <a:pt x="3269" y="2978"/>
                </a:lnTo>
                <a:lnTo>
                  <a:pt x="3291" y="3005"/>
                </a:lnTo>
                <a:lnTo>
                  <a:pt x="3317" y="3027"/>
                </a:lnTo>
                <a:lnTo>
                  <a:pt x="3348" y="3044"/>
                </a:lnTo>
                <a:lnTo>
                  <a:pt x="3382" y="3054"/>
                </a:lnTo>
                <a:lnTo>
                  <a:pt x="3419" y="3058"/>
                </a:lnTo>
                <a:lnTo>
                  <a:pt x="3454" y="3054"/>
                </a:lnTo>
                <a:lnTo>
                  <a:pt x="3488" y="3044"/>
                </a:lnTo>
                <a:lnTo>
                  <a:pt x="3518" y="3027"/>
                </a:lnTo>
                <a:lnTo>
                  <a:pt x="3546" y="3005"/>
                </a:lnTo>
                <a:lnTo>
                  <a:pt x="3567" y="2978"/>
                </a:lnTo>
                <a:lnTo>
                  <a:pt x="3584" y="2948"/>
                </a:lnTo>
                <a:lnTo>
                  <a:pt x="3595" y="2914"/>
                </a:lnTo>
                <a:lnTo>
                  <a:pt x="3599" y="2878"/>
                </a:lnTo>
                <a:lnTo>
                  <a:pt x="3595" y="2842"/>
                </a:lnTo>
                <a:lnTo>
                  <a:pt x="3584" y="2807"/>
                </a:lnTo>
                <a:lnTo>
                  <a:pt x="3567" y="2777"/>
                </a:lnTo>
                <a:lnTo>
                  <a:pt x="3546" y="2751"/>
                </a:lnTo>
                <a:lnTo>
                  <a:pt x="3518" y="2729"/>
                </a:lnTo>
                <a:lnTo>
                  <a:pt x="3488" y="2712"/>
                </a:lnTo>
                <a:lnTo>
                  <a:pt x="3454" y="2701"/>
                </a:lnTo>
                <a:lnTo>
                  <a:pt x="3419" y="2697"/>
                </a:lnTo>
                <a:close/>
                <a:moveTo>
                  <a:pt x="743" y="2697"/>
                </a:moveTo>
                <a:lnTo>
                  <a:pt x="707" y="2701"/>
                </a:lnTo>
                <a:lnTo>
                  <a:pt x="674" y="2712"/>
                </a:lnTo>
                <a:lnTo>
                  <a:pt x="642" y="2729"/>
                </a:lnTo>
                <a:lnTo>
                  <a:pt x="616" y="2751"/>
                </a:lnTo>
                <a:lnTo>
                  <a:pt x="594" y="2777"/>
                </a:lnTo>
                <a:lnTo>
                  <a:pt x="578" y="2807"/>
                </a:lnTo>
                <a:lnTo>
                  <a:pt x="567" y="2842"/>
                </a:lnTo>
                <a:lnTo>
                  <a:pt x="563" y="2878"/>
                </a:lnTo>
                <a:lnTo>
                  <a:pt x="567" y="2914"/>
                </a:lnTo>
                <a:lnTo>
                  <a:pt x="578" y="2948"/>
                </a:lnTo>
                <a:lnTo>
                  <a:pt x="594" y="2978"/>
                </a:lnTo>
                <a:lnTo>
                  <a:pt x="616" y="3005"/>
                </a:lnTo>
                <a:lnTo>
                  <a:pt x="642" y="3027"/>
                </a:lnTo>
                <a:lnTo>
                  <a:pt x="674" y="3044"/>
                </a:lnTo>
                <a:lnTo>
                  <a:pt x="707" y="3054"/>
                </a:lnTo>
                <a:lnTo>
                  <a:pt x="743" y="3058"/>
                </a:lnTo>
                <a:lnTo>
                  <a:pt x="780" y="3054"/>
                </a:lnTo>
                <a:lnTo>
                  <a:pt x="813" y="3044"/>
                </a:lnTo>
                <a:lnTo>
                  <a:pt x="844" y="3027"/>
                </a:lnTo>
                <a:lnTo>
                  <a:pt x="871" y="3005"/>
                </a:lnTo>
                <a:lnTo>
                  <a:pt x="893" y="2978"/>
                </a:lnTo>
                <a:lnTo>
                  <a:pt x="909" y="2948"/>
                </a:lnTo>
                <a:lnTo>
                  <a:pt x="919" y="2914"/>
                </a:lnTo>
                <a:lnTo>
                  <a:pt x="923" y="2878"/>
                </a:lnTo>
                <a:lnTo>
                  <a:pt x="919" y="2842"/>
                </a:lnTo>
                <a:lnTo>
                  <a:pt x="909" y="2807"/>
                </a:lnTo>
                <a:lnTo>
                  <a:pt x="893" y="2777"/>
                </a:lnTo>
                <a:lnTo>
                  <a:pt x="871" y="2751"/>
                </a:lnTo>
                <a:lnTo>
                  <a:pt x="844" y="2729"/>
                </a:lnTo>
                <a:lnTo>
                  <a:pt x="813" y="2712"/>
                </a:lnTo>
                <a:lnTo>
                  <a:pt x="780" y="2701"/>
                </a:lnTo>
                <a:lnTo>
                  <a:pt x="743" y="2697"/>
                </a:lnTo>
                <a:close/>
                <a:moveTo>
                  <a:pt x="2700" y="0"/>
                </a:moveTo>
                <a:lnTo>
                  <a:pt x="2749" y="7"/>
                </a:lnTo>
                <a:lnTo>
                  <a:pt x="2799" y="20"/>
                </a:lnTo>
                <a:lnTo>
                  <a:pt x="2846" y="40"/>
                </a:lnTo>
                <a:lnTo>
                  <a:pt x="2889" y="65"/>
                </a:lnTo>
                <a:lnTo>
                  <a:pt x="2929" y="96"/>
                </a:lnTo>
                <a:lnTo>
                  <a:pt x="2962" y="132"/>
                </a:lnTo>
                <a:lnTo>
                  <a:pt x="2990" y="172"/>
                </a:lnTo>
                <a:lnTo>
                  <a:pt x="3013" y="216"/>
                </a:lnTo>
                <a:lnTo>
                  <a:pt x="3029" y="262"/>
                </a:lnTo>
                <a:lnTo>
                  <a:pt x="3039" y="310"/>
                </a:lnTo>
                <a:lnTo>
                  <a:pt x="3040" y="360"/>
                </a:lnTo>
                <a:lnTo>
                  <a:pt x="3035" y="411"/>
                </a:lnTo>
                <a:lnTo>
                  <a:pt x="3025" y="453"/>
                </a:lnTo>
                <a:lnTo>
                  <a:pt x="3009" y="493"/>
                </a:lnTo>
                <a:lnTo>
                  <a:pt x="2989" y="530"/>
                </a:lnTo>
                <a:lnTo>
                  <a:pt x="2966" y="564"/>
                </a:lnTo>
                <a:lnTo>
                  <a:pt x="2937" y="594"/>
                </a:lnTo>
                <a:lnTo>
                  <a:pt x="3222" y="594"/>
                </a:lnTo>
                <a:lnTo>
                  <a:pt x="3235" y="553"/>
                </a:lnTo>
                <a:lnTo>
                  <a:pt x="3254" y="515"/>
                </a:lnTo>
                <a:lnTo>
                  <a:pt x="3278" y="480"/>
                </a:lnTo>
                <a:lnTo>
                  <a:pt x="3307" y="449"/>
                </a:lnTo>
                <a:lnTo>
                  <a:pt x="3338" y="422"/>
                </a:lnTo>
                <a:lnTo>
                  <a:pt x="3374" y="401"/>
                </a:lnTo>
                <a:lnTo>
                  <a:pt x="3413" y="382"/>
                </a:lnTo>
                <a:lnTo>
                  <a:pt x="3454" y="371"/>
                </a:lnTo>
                <a:lnTo>
                  <a:pt x="3496" y="364"/>
                </a:lnTo>
                <a:lnTo>
                  <a:pt x="3541" y="363"/>
                </a:lnTo>
                <a:lnTo>
                  <a:pt x="3585" y="368"/>
                </a:lnTo>
                <a:lnTo>
                  <a:pt x="3631" y="380"/>
                </a:lnTo>
                <a:lnTo>
                  <a:pt x="3673" y="397"/>
                </a:lnTo>
                <a:lnTo>
                  <a:pt x="3711" y="419"/>
                </a:lnTo>
                <a:lnTo>
                  <a:pt x="3747" y="447"/>
                </a:lnTo>
                <a:lnTo>
                  <a:pt x="3777" y="480"/>
                </a:lnTo>
                <a:lnTo>
                  <a:pt x="3802" y="515"/>
                </a:lnTo>
                <a:lnTo>
                  <a:pt x="3822" y="553"/>
                </a:lnTo>
                <a:lnTo>
                  <a:pt x="3836" y="594"/>
                </a:lnTo>
                <a:lnTo>
                  <a:pt x="4247" y="594"/>
                </a:lnTo>
                <a:lnTo>
                  <a:pt x="4247" y="865"/>
                </a:lnTo>
                <a:lnTo>
                  <a:pt x="3781" y="865"/>
                </a:lnTo>
                <a:lnTo>
                  <a:pt x="3752" y="895"/>
                </a:lnTo>
                <a:lnTo>
                  <a:pt x="3721" y="921"/>
                </a:lnTo>
                <a:lnTo>
                  <a:pt x="3685" y="943"/>
                </a:lnTo>
                <a:lnTo>
                  <a:pt x="3647" y="960"/>
                </a:lnTo>
                <a:lnTo>
                  <a:pt x="3817" y="960"/>
                </a:lnTo>
                <a:lnTo>
                  <a:pt x="3817" y="1887"/>
                </a:lnTo>
                <a:lnTo>
                  <a:pt x="3813" y="1975"/>
                </a:lnTo>
                <a:lnTo>
                  <a:pt x="3801" y="2060"/>
                </a:lnTo>
                <a:lnTo>
                  <a:pt x="3781" y="2143"/>
                </a:lnTo>
                <a:lnTo>
                  <a:pt x="3754" y="2223"/>
                </a:lnTo>
                <a:lnTo>
                  <a:pt x="3721" y="2299"/>
                </a:lnTo>
                <a:lnTo>
                  <a:pt x="3680" y="2371"/>
                </a:lnTo>
                <a:lnTo>
                  <a:pt x="3634" y="2440"/>
                </a:lnTo>
                <a:lnTo>
                  <a:pt x="3687" y="2470"/>
                </a:lnTo>
                <a:lnTo>
                  <a:pt x="3734" y="2505"/>
                </a:lnTo>
                <a:lnTo>
                  <a:pt x="3776" y="2546"/>
                </a:lnTo>
                <a:lnTo>
                  <a:pt x="3814" y="2592"/>
                </a:lnTo>
                <a:lnTo>
                  <a:pt x="3845" y="2642"/>
                </a:lnTo>
                <a:lnTo>
                  <a:pt x="3872" y="2696"/>
                </a:lnTo>
                <a:lnTo>
                  <a:pt x="3891" y="2754"/>
                </a:lnTo>
                <a:lnTo>
                  <a:pt x="3902" y="2815"/>
                </a:lnTo>
                <a:lnTo>
                  <a:pt x="3907" y="2878"/>
                </a:lnTo>
                <a:lnTo>
                  <a:pt x="3903" y="2935"/>
                </a:lnTo>
                <a:lnTo>
                  <a:pt x="3893" y="2991"/>
                </a:lnTo>
                <a:lnTo>
                  <a:pt x="3877" y="3044"/>
                </a:lnTo>
                <a:lnTo>
                  <a:pt x="3856" y="3095"/>
                </a:lnTo>
                <a:lnTo>
                  <a:pt x="3828" y="3142"/>
                </a:lnTo>
                <a:lnTo>
                  <a:pt x="3797" y="3186"/>
                </a:lnTo>
                <a:lnTo>
                  <a:pt x="3760" y="3227"/>
                </a:lnTo>
                <a:lnTo>
                  <a:pt x="3719" y="3262"/>
                </a:lnTo>
                <a:lnTo>
                  <a:pt x="4330" y="3262"/>
                </a:lnTo>
                <a:lnTo>
                  <a:pt x="4330" y="3551"/>
                </a:lnTo>
                <a:lnTo>
                  <a:pt x="0" y="3551"/>
                </a:lnTo>
                <a:lnTo>
                  <a:pt x="0" y="3262"/>
                </a:lnTo>
                <a:lnTo>
                  <a:pt x="441" y="3262"/>
                </a:lnTo>
                <a:lnTo>
                  <a:pt x="401" y="3227"/>
                </a:lnTo>
                <a:lnTo>
                  <a:pt x="364" y="3186"/>
                </a:lnTo>
                <a:lnTo>
                  <a:pt x="332" y="3142"/>
                </a:lnTo>
                <a:lnTo>
                  <a:pt x="305" y="3095"/>
                </a:lnTo>
                <a:lnTo>
                  <a:pt x="284" y="3044"/>
                </a:lnTo>
                <a:lnTo>
                  <a:pt x="268" y="2991"/>
                </a:lnTo>
                <a:lnTo>
                  <a:pt x="257" y="2935"/>
                </a:lnTo>
                <a:lnTo>
                  <a:pt x="255" y="2878"/>
                </a:lnTo>
                <a:lnTo>
                  <a:pt x="257" y="2817"/>
                </a:lnTo>
                <a:lnTo>
                  <a:pt x="269" y="2759"/>
                </a:lnTo>
                <a:lnTo>
                  <a:pt x="286" y="2702"/>
                </a:lnTo>
                <a:lnTo>
                  <a:pt x="310" y="2650"/>
                </a:lnTo>
                <a:lnTo>
                  <a:pt x="340" y="2601"/>
                </a:lnTo>
                <a:lnTo>
                  <a:pt x="376" y="2555"/>
                </a:lnTo>
                <a:lnTo>
                  <a:pt x="416" y="2515"/>
                </a:lnTo>
                <a:lnTo>
                  <a:pt x="461" y="2479"/>
                </a:lnTo>
                <a:lnTo>
                  <a:pt x="510" y="2449"/>
                </a:lnTo>
                <a:lnTo>
                  <a:pt x="562" y="2424"/>
                </a:lnTo>
                <a:lnTo>
                  <a:pt x="617" y="2405"/>
                </a:lnTo>
                <a:lnTo>
                  <a:pt x="675" y="2394"/>
                </a:lnTo>
                <a:lnTo>
                  <a:pt x="637" y="2329"/>
                </a:lnTo>
                <a:lnTo>
                  <a:pt x="604" y="2262"/>
                </a:lnTo>
                <a:lnTo>
                  <a:pt x="577" y="2193"/>
                </a:lnTo>
                <a:lnTo>
                  <a:pt x="554" y="2119"/>
                </a:lnTo>
                <a:lnTo>
                  <a:pt x="538" y="2044"/>
                </a:lnTo>
                <a:lnTo>
                  <a:pt x="528" y="1967"/>
                </a:lnTo>
                <a:lnTo>
                  <a:pt x="524" y="1887"/>
                </a:lnTo>
                <a:lnTo>
                  <a:pt x="524" y="960"/>
                </a:lnTo>
                <a:lnTo>
                  <a:pt x="3417" y="960"/>
                </a:lnTo>
                <a:lnTo>
                  <a:pt x="3379" y="943"/>
                </a:lnTo>
                <a:lnTo>
                  <a:pt x="3342" y="921"/>
                </a:lnTo>
                <a:lnTo>
                  <a:pt x="3311" y="895"/>
                </a:lnTo>
                <a:lnTo>
                  <a:pt x="3282" y="865"/>
                </a:lnTo>
                <a:lnTo>
                  <a:pt x="1328" y="865"/>
                </a:lnTo>
                <a:lnTo>
                  <a:pt x="1287" y="893"/>
                </a:lnTo>
                <a:lnTo>
                  <a:pt x="1242" y="916"/>
                </a:lnTo>
                <a:lnTo>
                  <a:pt x="1194" y="933"/>
                </a:lnTo>
                <a:lnTo>
                  <a:pt x="1143" y="942"/>
                </a:lnTo>
                <a:lnTo>
                  <a:pt x="1090" y="945"/>
                </a:lnTo>
                <a:lnTo>
                  <a:pt x="1036" y="938"/>
                </a:lnTo>
                <a:lnTo>
                  <a:pt x="992" y="928"/>
                </a:lnTo>
                <a:lnTo>
                  <a:pt x="950" y="911"/>
                </a:lnTo>
                <a:lnTo>
                  <a:pt x="910" y="890"/>
                </a:lnTo>
                <a:lnTo>
                  <a:pt x="875" y="865"/>
                </a:lnTo>
                <a:lnTo>
                  <a:pt x="144" y="865"/>
                </a:lnTo>
                <a:lnTo>
                  <a:pt x="144" y="594"/>
                </a:lnTo>
                <a:lnTo>
                  <a:pt x="743" y="594"/>
                </a:lnTo>
                <a:lnTo>
                  <a:pt x="745" y="564"/>
                </a:lnTo>
                <a:lnTo>
                  <a:pt x="749" y="534"/>
                </a:lnTo>
                <a:lnTo>
                  <a:pt x="760" y="488"/>
                </a:lnTo>
                <a:lnTo>
                  <a:pt x="779" y="446"/>
                </a:lnTo>
                <a:lnTo>
                  <a:pt x="801" y="406"/>
                </a:lnTo>
                <a:lnTo>
                  <a:pt x="829" y="371"/>
                </a:lnTo>
                <a:lnTo>
                  <a:pt x="860" y="339"/>
                </a:lnTo>
                <a:lnTo>
                  <a:pt x="896" y="312"/>
                </a:lnTo>
                <a:lnTo>
                  <a:pt x="935" y="289"/>
                </a:lnTo>
                <a:lnTo>
                  <a:pt x="976" y="271"/>
                </a:lnTo>
                <a:lnTo>
                  <a:pt x="1020" y="259"/>
                </a:lnTo>
                <a:lnTo>
                  <a:pt x="1066" y="252"/>
                </a:lnTo>
                <a:lnTo>
                  <a:pt x="1114" y="252"/>
                </a:lnTo>
                <a:lnTo>
                  <a:pt x="1161" y="258"/>
                </a:lnTo>
                <a:lnTo>
                  <a:pt x="1211" y="271"/>
                </a:lnTo>
                <a:lnTo>
                  <a:pt x="1257" y="289"/>
                </a:lnTo>
                <a:lnTo>
                  <a:pt x="1299" y="314"/>
                </a:lnTo>
                <a:lnTo>
                  <a:pt x="1337" y="343"/>
                </a:lnTo>
                <a:lnTo>
                  <a:pt x="1371" y="377"/>
                </a:lnTo>
                <a:lnTo>
                  <a:pt x="1399" y="415"/>
                </a:lnTo>
                <a:lnTo>
                  <a:pt x="1422" y="456"/>
                </a:lnTo>
                <a:lnTo>
                  <a:pt x="1439" y="501"/>
                </a:lnTo>
                <a:lnTo>
                  <a:pt x="1450" y="547"/>
                </a:lnTo>
                <a:lnTo>
                  <a:pt x="1454" y="594"/>
                </a:lnTo>
                <a:lnTo>
                  <a:pt x="1613" y="594"/>
                </a:lnTo>
                <a:lnTo>
                  <a:pt x="1594" y="553"/>
                </a:lnTo>
                <a:lnTo>
                  <a:pt x="1581" y="510"/>
                </a:lnTo>
                <a:lnTo>
                  <a:pt x="1573" y="465"/>
                </a:lnTo>
                <a:lnTo>
                  <a:pt x="1572" y="419"/>
                </a:lnTo>
                <a:lnTo>
                  <a:pt x="1577" y="372"/>
                </a:lnTo>
                <a:lnTo>
                  <a:pt x="1589" y="326"/>
                </a:lnTo>
                <a:lnTo>
                  <a:pt x="1608" y="284"/>
                </a:lnTo>
                <a:lnTo>
                  <a:pt x="1630" y="245"/>
                </a:lnTo>
                <a:lnTo>
                  <a:pt x="1657" y="209"/>
                </a:lnTo>
                <a:lnTo>
                  <a:pt x="1689" y="178"/>
                </a:lnTo>
                <a:lnTo>
                  <a:pt x="1724" y="150"/>
                </a:lnTo>
                <a:lnTo>
                  <a:pt x="1764" y="128"/>
                </a:lnTo>
                <a:lnTo>
                  <a:pt x="1805" y="109"/>
                </a:lnTo>
                <a:lnTo>
                  <a:pt x="1849" y="97"/>
                </a:lnTo>
                <a:lnTo>
                  <a:pt x="1895" y="91"/>
                </a:lnTo>
                <a:lnTo>
                  <a:pt x="1942" y="89"/>
                </a:lnTo>
                <a:lnTo>
                  <a:pt x="1990" y="95"/>
                </a:lnTo>
                <a:lnTo>
                  <a:pt x="2041" y="108"/>
                </a:lnTo>
                <a:lnTo>
                  <a:pt x="2088" y="128"/>
                </a:lnTo>
                <a:lnTo>
                  <a:pt x="2132" y="154"/>
                </a:lnTo>
                <a:lnTo>
                  <a:pt x="2171" y="185"/>
                </a:lnTo>
                <a:lnTo>
                  <a:pt x="2204" y="221"/>
                </a:lnTo>
                <a:lnTo>
                  <a:pt x="2233" y="260"/>
                </a:lnTo>
                <a:lnTo>
                  <a:pt x="2255" y="304"/>
                </a:lnTo>
                <a:lnTo>
                  <a:pt x="2271" y="351"/>
                </a:lnTo>
                <a:lnTo>
                  <a:pt x="2280" y="400"/>
                </a:lnTo>
                <a:lnTo>
                  <a:pt x="2283" y="449"/>
                </a:lnTo>
                <a:lnTo>
                  <a:pt x="2277" y="501"/>
                </a:lnTo>
                <a:lnTo>
                  <a:pt x="2264" y="549"/>
                </a:lnTo>
                <a:lnTo>
                  <a:pt x="2244" y="594"/>
                </a:lnTo>
                <a:lnTo>
                  <a:pt x="2440" y="594"/>
                </a:lnTo>
                <a:lnTo>
                  <a:pt x="2407" y="558"/>
                </a:lnTo>
                <a:lnTo>
                  <a:pt x="2380" y="519"/>
                </a:lnTo>
                <a:lnTo>
                  <a:pt x="2357" y="476"/>
                </a:lnTo>
                <a:lnTo>
                  <a:pt x="2342" y="430"/>
                </a:lnTo>
                <a:lnTo>
                  <a:pt x="2332" y="382"/>
                </a:lnTo>
                <a:lnTo>
                  <a:pt x="2331" y="333"/>
                </a:lnTo>
                <a:lnTo>
                  <a:pt x="2336" y="283"/>
                </a:lnTo>
                <a:lnTo>
                  <a:pt x="2348" y="237"/>
                </a:lnTo>
                <a:lnTo>
                  <a:pt x="2365" y="195"/>
                </a:lnTo>
                <a:lnTo>
                  <a:pt x="2388" y="155"/>
                </a:lnTo>
                <a:lnTo>
                  <a:pt x="2415" y="120"/>
                </a:lnTo>
                <a:lnTo>
                  <a:pt x="2447" y="88"/>
                </a:lnTo>
                <a:lnTo>
                  <a:pt x="2484" y="61"/>
                </a:lnTo>
                <a:lnTo>
                  <a:pt x="2522" y="38"/>
                </a:lnTo>
                <a:lnTo>
                  <a:pt x="2564" y="20"/>
                </a:lnTo>
                <a:lnTo>
                  <a:pt x="2607" y="8"/>
                </a:lnTo>
                <a:lnTo>
                  <a:pt x="2653" y="1"/>
                </a:lnTo>
                <a:lnTo>
                  <a:pt x="270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125" name="Picture 4" descr="Natural Gas Icons - Download Free Vector Icons | Noun Project">
            <a:extLst>
              <a:ext uri="{FF2B5EF4-FFF2-40B4-BE49-F238E27FC236}">
                <a16:creationId xmlns:a16="http://schemas.microsoft.com/office/drawing/2014/main" id="{6178A8E1-B158-4914-B585-D9AE1495DF2B}"/>
              </a:ext>
            </a:extLst>
          </p:cNvPr>
          <p:cNvPicPr>
            <a:picLocks noChangeAspect="1" noChangeArrowheads="1"/>
          </p:cNvPicPr>
          <p:nvPr/>
        </p:nvPicPr>
        <p:blipFill>
          <a:blip r:embed="rId81" cstate="print">
            <a:duotone>
              <a:schemeClr val="accent6">
                <a:shade val="45000"/>
                <a:satMod val="135000"/>
              </a:schemeClr>
              <a:prstClr val="white"/>
            </a:duotone>
            <a:alphaModFix amt="84000"/>
            <a:extLst>
              <a:ext uri="{BEBA8EAE-BF5A-486C-A8C5-ECC9F3942E4B}">
                <a14:imgProps xmlns:a14="http://schemas.microsoft.com/office/drawing/2010/main">
                  <a14:imgLayer r:embed="rId82">
                    <a14:imgEffect>
                      <a14:saturation sat="60000"/>
                    </a14:imgEffect>
                  </a14:imgLayer>
                </a14:imgProps>
              </a:ext>
              <a:ext uri="{28A0092B-C50C-407E-A947-70E740481C1C}">
                <a14:useLocalDpi xmlns:a14="http://schemas.microsoft.com/office/drawing/2010/main" val="0"/>
              </a:ext>
            </a:extLst>
          </a:blip>
          <a:srcRect/>
          <a:stretch>
            <a:fillRect/>
          </a:stretch>
        </p:blipFill>
        <p:spPr bwMode="auto">
          <a:xfrm>
            <a:off x="708524" y="6435486"/>
            <a:ext cx="176213" cy="176213"/>
          </a:xfrm>
          <a:prstGeom prst="rect">
            <a:avLst/>
          </a:prstGeom>
          <a:noFill/>
          <a:extLst>
            <a:ext uri="{909E8E84-426E-40DD-AFC4-6F175D3DCCD1}">
              <a14:hiddenFill xmlns:a14="http://schemas.microsoft.com/office/drawing/2010/main">
                <a:solidFill>
                  <a:srgbClr val="FFFFFF"/>
                </a:solidFill>
              </a14:hiddenFill>
            </a:ext>
          </a:extLst>
        </p:spPr>
      </p:pic>
      <p:sp>
        <p:nvSpPr>
          <p:cNvPr id="126" name="Freeform: Shape 125">
            <a:extLst>
              <a:ext uri="{FF2B5EF4-FFF2-40B4-BE49-F238E27FC236}">
                <a16:creationId xmlns:a16="http://schemas.microsoft.com/office/drawing/2014/main" id="{2266B296-BB78-4273-AA4E-E190C677D719}"/>
              </a:ext>
            </a:extLst>
          </p:cNvPr>
          <p:cNvSpPr>
            <a:spLocks noChangeAspect="1"/>
          </p:cNvSpPr>
          <p:nvPr/>
        </p:nvSpPr>
        <p:spPr>
          <a:xfrm>
            <a:off x="5493197" y="6445805"/>
            <a:ext cx="155575" cy="155575"/>
          </a:xfrm>
          <a:custGeom>
            <a:avLst/>
            <a:gdLst>
              <a:gd name="connsiteX0" fmla="*/ 636615 w 2387304"/>
              <a:gd name="connsiteY0" fmla="*/ 1909843 h 2387303"/>
              <a:gd name="connsiteX1" fmla="*/ 318308 w 2387304"/>
              <a:gd name="connsiteY1" fmla="*/ 2228150 h 2387303"/>
              <a:gd name="connsiteX2" fmla="*/ 954923 w 2387304"/>
              <a:gd name="connsiteY2" fmla="*/ 2228150 h 2387303"/>
              <a:gd name="connsiteX3" fmla="*/ 795768 w 2387304"/>
              <a:gd name="connsiteY3" fmla="*/ 1163810 h 2387303"/>
              <a:gd name="connsiteX4" fmla="*/ 795768 w 2387304"/>
              <a:gd name="connsiteY4" fmla="*/ 1313016 h 2387303"/>
              <a:gd name="connsiteX5" fmla="*/ 915134 w 2387304"/>
              <a:gd name="connsiteY5" fmla="*/ 1313016 h 2387303"/>
              <a:gd name="connsiteX6" fmla="*/ 939007 w 2387304"/>
              <a:gd name="connsiteY6" fmla="*/ 1320974 h 2387303"/>
              <a:gd name="connsiteX7" fmla="*/ 1153864 w 2387304"/>
              <a:gd name="connsiteY7" fmla="*/ 1482118 h 2387303"/>
              <a:gd name="connsiteX8" fmla="*/ 1153864 w 2387304"/>
              <a:gd name="connsiteY8" fmla="*/ 1392593 h 2387303"/>
              <a:gd name="connsiteX9" fmla="*/ 1233440 w 2387304"/>
              <a:gd name="connsiteY9" fmla="*/ 1392593 h 2387303"/>
              <a:gd name="connsiteX10" fmla="*/ 1233440 w 2387304"/>
              <a:gd name="connsiteY10" fmla="*/ 1541800 h 2387303"/>
              <a:gd name="connsiteX11" fmla="*/ 1257274 w 2387304"/>
              <a:gd name="connsiteY11" fmla="*/ 1559705 h 2387303"/>
              <a:gd name="connsiteX12" fmla="*/ 1271160 w 2387304"/>
              <a:gd name="connsiteY12" fmla="*/ 1604109 h 2387303"/>
              <a:gd name="connsiteX13" fmla="*/ 1233440 w 2387304"/>
              <a:gd name="connsiteY13" fmla="*/ 1631324 h 2387303"/>
              <a:gd name="connsiteX14" fmla="*/ 1233440 w 2387304"/>
              <a:gd name="connsiteY14" fmla="*/ 1710901 h 2387303"/>
              <a:gd name="connsiteX15" fmla="*/ 1153864 w 2387304"/>
              <a:gd name="connsiteY15" fmla="*/ 1710901 h 2387303"/>
              <a:gd name="connsiteX16" fmla="*/ 1153864 w 2387304"/>
              <a:gd name="connsiteY16" fmla="*/ 1631324 h 2387303"/>
              <a:gd name="connsiteX17" fmla="*/ 780888 w 2387304"/>
              <a:gd name="connsiteY17" fmla="*/ 1631324 h 2387303"/>
              <a:gd name="connsiteX18" fmla="*/ 845623 w 2387304"/>
              <a:gd name="connsiteY18" fmla="*/ 1680105 h 2387303"/>
              <a:gd name="connsiteX19" fmla="*/ 862931 w 2387304"/>
              <a:gd name="connsiteY19" fmla="*/ 1710901 h 2387303"/>
              <a:gd name="connsiteX20" fmla="*/ 410338 w 2387304"/>
              <a:gd name="connsiteY20" fmla="*/ 1710901 h 2387303"/>
              <a:gd name="connsiteX21" fmla="*/ 455101 w 2387304"/>
              <a:gd name="connsiteY21" fmla="*/ 1631324 h 2387303"/>
              <a:gd name="connsiteX22" fmla="*/ 79577 w 2387304"/>
              <a:gd name="connsiteY22" fmla="*/ 1631324 h 2387303"/>
              <a:gd name="connsiteX23" fmla="*/ 79577 w 2387304"/>
              <a:gd name="connsiteY23" fmla="*/ 1710901 h 2387303"/>
              <a:gd name="connsiteX24" fmla="*/ 0 w 2387304"/>
              <a:gd name="connsiteY24" fmla="*/ 1710901 h 2387303"/>
              <a:gd name="connsiteX25" fmla="*/ 0 w 2387304"/>
              <a:gd name="connsiteY25" fmla="*/ 1392593 h 2387303"/>
              <a:gd name="connsiteX26" fmla="*/ 79577 w 2387304"/>
              <a:gd name="connsiteY26" fmla="*/ 1392593 h 2387303"/>
              <a:gd name="connsiteX27" fmla="*/ 79577 w 2387304"/>
              <a:gd name="connsiteY27" fmla="*/ 1511959 h 2387303"/>
              <a:gd name="connsiteX28" fmla="*/ 334222 w 2387304"/>
              <a:gd name="connsiteY28" fmla="*/ 1320974 h 2387303"/>
              <a:gd name="connsiteX29" fmla="*/ 358096 w 2387304"/>
              <a:gd name="connsiteY29" fmla="*/ 1313016 h 2387303"/>
              <a:gd name="connsiteX30" fmla="*/ 477462 w 2387304"/>
              <a:gd name="connsiteY30" fmla="*/ 1313016 h 2387303"/>
              <a:gd name="connsiteX31" fmla="*/ 477462 w 2387304"/>
              <a:gd name="connsiteY31" fmla="*/ 1392593 h 2387303"/>
              <a:gd name="connsiteX32" fmla="*/ 371345 w 2387304"/>
              <a:gd name="connsiteY32" fmla="*/ 1392593 h 2387303"/>
              <a:gd name="connsiteX33" fmla="*/ 159154 w 2387304"/>
              <a:gd name="connsiteY33" fmla="*/ 1551747 h 2387303"/>
              <a:gd name="connsiteX34" fmla="*/ 477462 w 2387304"/>
              <a:gd name="connsiteY34" fmla="*/ 1551747 h 2387303"/>
              <a:gd name="connsiteX35" fmla="*/ 477462 w 2387304"/>
              <a:gd name="connsiteY35" fmla="*/ 1402620 h 2387303"/>
              <a:gd name="connsiteX36" fmla="*/ 675329 w 2387304"/>
              <a:gd name="connsiteY36" fmla="*/ 1551747 h 2387303"/>
              <a:gd name="connsiteX37" fmla="*/ 1114075 w 2387304"/>
              <a:gd name="connsiteY37" fmla="*/ 1551747 h 2387303"/>
              <a:gd name="connsiteX38" fmla="*/ 901884 w 2387304"/>
              <a:gd name="connsiteY38" fmla="*/ 1392593 h 2387303"/>
              <a:gd name="connsiteX39" fmla="*/ 795768 w 2387304"/>
              <a:gd name="connsiteY39" fmla="*/ 1392593 h 2387303"/>
              <a:gd name="connsiteX40" fmla="*/ 795768 w 2387304"/>
              <a:gd name="connsiteY40" fmla="*/ 1541801 h 2387303"/>
              <a:gd name="connsiteX41" fmla="*/ 596826 w 2387304"/>
              <a:gd name="connsiteY41" fmla="*/ 1392593 h 2387303"/>
              <a:gd name="connsiteX42" fmla="*/ 795768 w 2387304"/>
              <a:gd name="connsiteY42" fmla="*/ 1392593 h 2387303"/>
              <a:gd name="connsiteX43" fmla="*/ 795768 w 2387304"/>
              <a:gd name="connsiteY43" fmla="*/ 1313018 h 2387303"/>
              <a:gd name="connsiteX44" fmla="*/ 596826 w 2387304"/>
              <a:gd name="connsiteY44" fmla="*/ 1313018 h 2387303"/>
              <a:gd name="connsiteX45" fmla="*/ 596826 w 2387304"/>
              <a:gd name="connsiteY45" fmla="*/ 915133 h 2387303"/>
              <a:gd name="connsiteX46" fmla="*/ 795768 w 2387304"/>
              <a:gd name="connsiteY46" fmla="*/ 915133 h 2387303"/>
              <a:gd name="connsiteX47" fmla="*/ 795768 w 2387304"/>
              <a:gd name="connsiteY47" fmla="*/ 1064341 h 2387303"/>
              <a:gd name="connsiteX48" fmla="*/ 358097 w 2387304"/>
              <a:gd name="connsiteY48" fmla="*/ 835556 h 2387303"/>
              <a:gd name="connsiteX49" fmla="*/ 477462 w 2387304"/>
              <a:gd name="connsiteY49" fmla="*/ 835556 h 2387303"/>
              <a:gd name="connsiteX50" fmla="*/ 477462 w 2387304"/>
              <a:gd name="connsiteY50" fmla="*/ 915133 h 2387303"/>
              <a:gd name="connsiteX51" fmla="*/ 371346 w 2387304"/>
              <a:gd name="connsiteY51" fmla="*/ 915133 h 2387303"/>
              <a:gd name="connsiteX52" fmla="*/ 159154 w 2387304"/>
              <a:gd name="connsiteY52" fmla="*/ 1074286 h 2387303"/>
              <a:gd name="connsiteX53" fmla="*/ 477461 w 2387304"/>
              <a:gd name="connsiteY53" fmla="*/ 1074286 h 2387303"/>
              <a:gd name="connsiteX54" fmla="*/ 477461 w 2387304"/>
              <a:gd name="connsiteY54" fmla="*/ 925080 h 2387303"/>
              <a:gd name="connsiteX55" fmla="*/ 676403 w 2387304"/>
              <a:gd name="connsiteY55" fmla="*/ 1074288 h 2387303"/>
              <a:gd name="connsiteX56" fmla="*/ 477462 w 2387304"/>
              <a:gd name="connsiteY56" fmla="*/ 1074288 h 2387303"/>
              <a:gd name="connsiteX57" fmla="*/ 477462 w 2387304"/>
              <a:gd name="connsiteY57" fmla="*/ 1153863 h 2387303"/>
              <a:gd name="connsiteX58" fmla="*/ 676403 w 2387304"/>
              <a:gd name="connsiteY58" fmla="*/ 1153863 h 2387303"/>
              <a:gd name="connsiteX59" fmla="*/ 477461 w 2387304"/>
              <a:gd name="connsiteY59" fmla="*/ 1303071 h 2387303"/>
              <a:gd name="connsiteX60" fmla="*/ 477461 w 2387304"/>
              <a:gd name="connsiteY60" fmla="*/ 1153864 h 2387303"/>
              <a:gd name="connsiteX61" fmla="*/ 79577 w 2387304"/>
              <a:gd name="connsiteY61" fmla="*/ 1153864 h 2387303"/>
              <a:gd name="connsiteX62" fmla="*/ 79577 w 2387304"/>
              <a:gd name="connsiteY62" fmla="*/ 1233441 h 2387303"/>
              <a:gd name="connsiteX63" fmla="*/ 0 w 2387304"/>
              <a:gd name="connsiteY63" fmla="*/ 1233441 h 2387303"/>
              <a:gd name="connsiteX64" fmla="*/ 0 w 2387304"/>
              <a:gd name="connsiteY64" fmla="*/ 915133 h 2387303"/>
              <a:gd name="connsiteX65" fmla="*/ 79577 w 2387304"/>
              <a:gd name="connsiteY65" fmla="*/ 915133 h 2387303"/>
              <a:gd name="connsiteX66" fmla="*/ 79577 w 2387304"/>
              <a:gd name="connsiteY66" fmla="*/ 1034498 h 2387303"/>
              <a:gd name="connsiteX67" fmla="*/ 334223 w 2387304"/>
              <a:gd name="connsiteY67" fmla="*/ 843514 h 2387303"/>
              <a:gd name="connsiteX68" fmla="*/ 358097 w 2387304"/>
              <a:gd name="connsiteY68" fmla="*/ 835556 h 2387303"/>
              <a:gd name="connsiteX69" fmla="*/ 795768 w 2387304"/>
              <a:gd name="connsiteY69" fmla="*/ 686350 h 2387303"/>
              <a:gd name="connsiteX70" fmla="*/ 795768 w 2387304"/>
              <a:gd name="connsiteY70" fmla="*/ 835556 h 2387303"/>
              <a:gd name="connsiteX71" fmla="*/ 915134 w 2387304"/>
              <a:gd name="connsiteY71" fmla="*/ 835556 h 2387303"/>
              <a:gd name="connsiteX72" fmla="*/ 939007 w 2387304"/>
              <a:gd name="connsiteY72" fmla="*/ 843514 h 2387303"/>
              <a:gd name="connsiteX73" fmla="*/ 1153865 w 2387304"/>
              <a:gd name="connsiteY73" fmla="*/ 1004657 h 2387303"/>
              <a:gd name="connsiteX74" fmla="*/ 1153865 w 2387304"/>
              <a:gd name="connsiteY74" fmla="*/ 915133 h 2387303"/>
              <a:gd name="connsiteX75" fmla="*/ 1233441 w 2387304"/>
              <a:gd name="connsiteY75" fmla="*/ 915133 h 2387303"/>
              <a:gd name="connsiteX76" fmla="*/ 1233441 w 2387304"/>
              <a:gd name="connsiteY76" fmla="*/ 1064339 h 2387303"/>
              <a:gd name="connsiteX77" fmla="*/ 1257274 w 2387304"/>
              <a:gd name="connsiteY77" fmla="*/ 1082244 h 2387303"/>
              <a:gd name="connsiteX78" fmla="*/ 1271161 w 2387304"/>
              <a:gd name="connsiteY78" fmla="*/ 1126649 h 2387303"/>
              <a:gd name="connsiteX79" fmla="*/ 1233441 w 2387304"/>
              <a:gd name="connsiteY79" fmla="*/ 1153864 h 2387303"/>
              <a:gd name="connsiteX80" fmla="*/ 1233441 w 2387304"/>
              <a:gd name="connsiteY80" fmla="*/ 1233441 h 2387303"/>
              <a:gd name="connsiteX81" fmla="*/ 1153865 w 2387304"/>
              <a:gd name="connsiteY81" fmla="*/ 1233441 h 2387303"/>
              <a:gd name="connsiteX82" fmla="*/ 1153865 w 2387304"/>
              <a:gd name="connsiteY82" fmla="*/ 1153864 h 2387303"/>
              <a:gd name="connsiteX83" fmla="*/ 795768 w 2387304"/>
              <a:gd name="connsiteY83" fmla="*/ 1153864 h 2387303"/>
              <a:gd name="connsiteX84" fmla="*/ 795768 w 2387304"/>
              <a:gd name="connsiteY84" fmla="*/ 1074286 h 2387303"/>
              <a:gd name="connsiteX85" fmla="*/ 1114076 w 2387304"/>
              <a:gd name="connsiteY85" fmla="*/ 1074286 h 2387303"/>
              <a:gd name="connsiteX86" fmla="*/ 901885 w 2387304"/>
              <a:gd name="connsiteY86" fmla="*/ 915133 h 2387303"/>
              <a:gd name="connsiteX87" fmla="*/ 795768 w 2387304"/>
              <a:gd name="connsiteY87" fmla="*/ 915133 h 2387303"/>
              <a:gd name="connsiteX88" fmla="*/ 795768 w 2387304"/>
              <a:gd name="connsiteY88" fmla="*/ 835558 h 2387303"/>
              <a:gd name="connsiteX89" fmla="*/ 596826 w 2387304"/>
              <a:gd name="connsiteY89" fmla="*/ 835558 h 2387303"/>
              <a:gd name="connsiteX90" fmla="*/ 358097 w 2387304"/>
              <a:gd name="connsiteY90" fmla="*/ 358096 h 2387303"/>
              <a:gd name="connsiteX91" fmla="*/ 477462 w 2387304"/>
              <a:gd name="connsiteY91" fmla="*/ 358096 h 2387303"/>
              <a:gd name="connsiteX92" fmla="*/ 477462 w 2387304"/>
              <a:gd name="connsiteY92" fmla="*/ 437673 h 2387303"/>
              <a:gd name="connsiteX93" fmla="*/ 371346 w 2387304"/>
              <a:gd name="connsiteY93" fmla="*/ 437673 h 2387303"/>
              <a:gd name="connsiteX94" fmla="*/ 159154 w 2387304"/>
              <a:gd name="connsiteY94" fmla="*/ 596826 h 2387303"/>
              <a:gd name="connsiteX95" fmla="*/ 477461 w 2387304"/>
              <a:gd name="connsiteY95" fmla="*/ 596826 h 2387303"/>
              <a:gd name="connsiteX96" fmla="*/ 477461 w 2387304"/>
              <a:gd name="connsiteY96" fmla="*/ 447619 h 2387303"/>
              <a:gd name="connsiteX97" fmla="*/ 676403 w 2387304"/>
              <a:gd name="connsiteY97" fmla="*/ 596827 h 2387303"/>
              <a:gd name="connsiteX98" fmla="*/ 477462 w 2387304"/>
              <a:gd name="connsiteY98" fmla="*/ 596827 h 2387303"/>
              <a:gd name="connsiteX99" fmla="*/ 477462 w 2387304"/>
              <a:gd name="connsiteY99" fmla="*/ 676403 h 2387303"/>
              <a:gd name="connsiteX100" fmla="*/ 676403 w 2387304"/>
              <a:gd name="connsiteY100" fmla="*/ 676403 h 2387303"/>
              <a:gd name="connsiteX101" fmla="*/ 477461 w 2387304"/>
              <a:gd name="connsiteY101" fmla="*/ 825611 h 2387303"/>
              <a:gd name="connsiteX102" fmla="*/ 477461 w 2387304"/>
              <a:gd name="connsiteY102" fmla="*/ 676404 h 2387303"/>
              <a:gd name="connsiteX103" fmla="*/ 79577 w 2387304"/>
              <a:gd name="connsiteY103" fmla="*/ 676404 h 2387303"/>
              <a:gd name="connsiteX104" fmla="*/ 79577 w 2387304"/>
              <a:gd name="connsiteY104" fmla="*/ 755981 h 2387303"/>
              <a:gd name="connsiteX105" fmla="*/ 0 w 2387304"/>
              <a:gd name="connsiteY105" fmla="*/ 755981 h 2387303"/>
              <a:gd name="connsiteX106" fmla="*/ 0 w 2387304"/>
              <a:gd name="connsiteY106" fmla="*/ 437673 h 2387303"/>
              <a:gd name="connsiteX107" fmla="*/ 79577 w 2387304"/>
              <a:gd name="connsiteY107" fmla="*/ 437673 h 2387303"/>
              <a:gd name="connsiteX108" fmla="*/ 79577 w 2387304"/>
              <a:gd name="connsiteY108" fmla="*/ 557038 h 2387303"/>
              <a:gd name="connsiteX109" fmla="*/ 334223 w 2387304"/>
              <a:gd name="connsiteY109" fmla="*/ 366054 h 2387303"/>
              <a:gd name="connsiteX110" fmla="*/ 358097 w 2387304"/>
              <a:gd name="connsiteY110" fmla="*/ 358096 h 2387303"/>
              <a:gd name="connsiteX111" fmla="*/ 1909843 w 2387304"/>
              <a:gd name="connsiteY111" fmla="*/ 0 h 2387303"/>
              <a:gd name="connsiteX112" fmla="*/ 1989420 w 2387304"/>
              <a:gd name="connsiteY112" fmla="*/ 79577 h 2387303"/>
              <a:gd name="connsiteX113" fmla="*/ 1989420 w 2387304"/>
              <a:gd name="connsiteY113" fmla="*/ 238730 h 2387303"/>
              <a:gd name="connsiteX114" fmla="*/ 2148573 w 2387304"/>
              <a:gd name="connsiteY114" fmla="*/ 238730 h 2387303"/>
              <a:gd name="connsiteX115" fmla="*/ 2148573 w 2387304"/>
              <a:gd name="connsiteY115" fmla="*/ 79577 h 2387303"/>
              <a:gd name="connsiteX116" fmla="*/ 2228150 w 2387304"/>
              <a:gd name="connsiteY116" fmla="*/ 0 h 2387303"/>
              <a:gd name="connsiteX117" fmla="*/ 2307727 w 2387304"/>
              <a:gd name="connsiteY117" fmla="*/ 79577 h 2387303"/>
              <a:gd name="connsiteX118" fmla="*/ 2307727 w 2387304"/>
              <a:gd name="connsiteY118" fmla="*/ 238730 h 2387303"/>
              <a:gd name="connsiteX119" fmla="*/ 2387304 w 2387304"/>
              <a:gd name="connsiteY119" fmla="*/ 238730 h 2387303"/>
              <a:gd name="connsiteX120" fmla="*/ 2387304 w 2387304"/>
              <a:gd name="connsiteY120" fmla="*/ 397884 h 2387303"/>
              <a:gd name="connsiteX121" fmla="*/ 2228150 w 2387304"/>
              <a:gd name="connsiteY121" fmla="*/ 557037 h 2387303"/>
              <a:gd name="connsiteX122" fmla="*/ 2148573 w 2387304"/>
              <a:gd name="connsiteY122" fmla="*/ 557037 h 2387303"/>
              <a:gd name="connsiteX123" fmla="*/ 2148573 w 2387304"/>
              <a:gd name="connsiteY123" fmla="*/ 716191 h 2387303"/>
              <a:gd name="connsiteX124" fmla="*/ 2108785 w 2387304"/>
              <a:gd name="connsiteY124" fmla="*/ 716191 h 2387303"/>
              <a:gd name="connsiteX125" fmla="*/ 2108785 w 2387304"/>
              <a:gd name="connsiteY125" fmla="*/ 2228150 h 2387303"/>
              <a:gd name="connsiteX126" fmla="*/ 1949632 w 2387304"/>
              <a:gd name="connsiteY126" fmla="*/ 2387303 h 2387303"/>
              <a:gd name="connsiteX127" fmla="*/ 1790478 w 2387304"/>
              <a:gd name="connsiteY127" fmla="*/ 2228150 h 2387303"/>
              <a:gd name="connsiteX128" fmla="*/ 1790478 w 2387304"/>
              <a:gd name="connsiteY128" fmla="*/ 1114074 h 2387303"/>
              <a:gd name="connsiteX129" fmla="*/ 1710901 w 2387304"/>
              <a:gd name="connsiteY129" fmla="*/ 1034498 h 2387303"/>
              <a:gd name="connsiteX130" fmla="*/ 1631325 w 2387304"/>
              <a:gd name="connsiteY130" fmla="*/ 1114074 h 2387303"/>
              <a:gd name="connsiteX131" fmla="*/ 1631325 w 2387304"/>
              <a:gd name="connsiteY131" fmla="*/ 2188361 h 2387303"/>
              <a:gd name="connsiteX132" fmla="*/ 1432383 w 2387304"/>
              <a:gd name="connsiteY132" fmla="*/ 2387303 h 2387303"/>
              <a:gd name="connsiteX133" fmla="*/ 1233441 w 2387304"/>
              <a:gd name="connsiteY133" fmla="*/ 2387303 h 2387303"/>
              <a:gd name="connsiteX134" fmla="*/ 1193653 w 2387304"/>
              <a:gd name="connsiteY134" fmla="*/ 2387303 h 2387303"/>
              <a:gd name="connsiteX135" fmla="*/ 39789 w 2387304"/>
              <a:gd name="connsiteY135" fmla="*/ 2387303 h 2387303"/>
              <a:gd name="connsiteX136" fmla="*/ 39789 w 2387304"/>
              <a:gd name="connsiteY136" fmla="*/ 2228150 h 2387303"/>
              <a:gd name="connsiteX137" fmla="*/ 119366 w 2387304"/>
              <a:gd name="connsiteY137" fmla="*/ 2228150 h 2387303"/>
              <a:gd name="connsiteX138" fmla="*/ 365576 w 2387304"/>
              <a:gd name="connsiteY138" fmla="*/ 1790478 h 2387303"/>
              <a:gd name="connsiteX139" fmla="*/ 907654 w 2387304"/>
              <a:gd name="connsiteY139" fmla="*/ 1790478 h 2387303"/>
              <a:gd name="connsiteX140" fmla="*/ 1153864 w 2387304"/>
              <a:gd name="connsiteY140" fmla="*/ 2228150 h 2387303"/>
              <a:gd name="connsiteX141" fmla="*/ 1233441 w 2387304"/>
              <a:gd name="connsiteY141" fmla="*/ 2228150 h 2387303"/>
              <a:gd name="connsiteX142" fmla="*/ 1233441 w 2387304"/>
              <a:gd name="connsiteY142" fmla="*/ 2307726 h 2387303"/>
              <a:gd name="connsiteX143" fmla="*/ 1432383 w 2387304"/>
              <a:gd name="connsiteY143" fmla="*/ 2307726 h 2387303"/>
              <a:gd name="connsiteX144" fmla="*/ 1551748 w 2387304"/>
              <a:gd name="connsiteY144" fmla="*/ 2188361 h 2387303"/>
              <a:gd name="connsiteX145" fmla="*/ 1551748 w 2387304"/>
              <a:gd name="connsiteY145" fmla="*/ 1114074 h 2387303"/>
              <a:gd name="connsiteX146" fmla="*/ 1710901 w 2387304"/>
              <a:gd name="connsiteY146" fmla="*/ 954921 h 2387303"/>
              <a:gd name="connsiteX147" fmla="*/ 1870055 w 2387304"/>
              <a:gd name="connsiteY147" fmla="*/ 1114074 h 2387303"/>
              <a:gd name="connsiteX148" fmla="*/ 1870055 w 2387304"/>
              <a:gd name="connsiteY148" fmla="*/ 2228150 h 2387303"/>
              <a:gd name="connsiteX149" fmla="*/ 1949632 w 2387304"/>
              <a:gd name="connsiteY149" fmla="*/ 2307726 h 2387303"/>
              <a:gd name="connsiteX150" fmla="*/ 2029208 w 2387304"/>
              <a:gd name="connsiteY150" fmla="*/ 2228150 h 2387303"/>
              <a:gd name="connsiteX151" fmla="*/ 2029208 w 2387304"/>
              <a:gd name="connsiteY151" fmla="*/ 716191 h 2387303"/>
              <a:gd name="connsiteX152" fmla="*/ 1989420 w 2387304"/>
              <a:gd name="connsiteY152" fmla="*/ 716191 h 2387303"/>
              <a:gd name="connsiteX153" fmla="*/ 1989420 w 2387304"/>
              <a:gd name="connsiteY153" fmla="*/ 557037 h 2387303"/>
              <a:gd name="connsiteX154" fmla="*/ 1909843 w 2387304"/>
              <a:gd name="connsiteY154" fmla="*/ 557037 h 2387303"/>
              <a:gd name="connsiteX155" fmla="*/ 1750690 w 2387304"/>
              <a:gd name="connsiteY155" fmla="*/ 397884 h 2387303"/>
              <a:gd name="connsiteX156" fmla="*/ 1750690 w 2387304"/>
              <a:gd name="connsiteY156" fmla="*/ 238730 h 2387303"/>
              <a:gd name="connsiteX157" fmla="*/ 1830267 w 2387304"/>
              <a:gd name="connsiteY157" fmla="*/ 238730 h 2387303"/>
              <a:gd name="connsiteX158" fmla="*/ 1830267 w 2387304"/>
              <a:gd name="connsiteY158" fmla="*/ 79577 h 2387303"/>
              <a:gd name="connsiteX159" fmla="*/ 1909843 w 2387304"/>
              <a:gd name="connsiteY159" fmla="*/ 0 h 2387303"/>
              <a:gd name="connsiteX160" fmla="*/ 318307 w 2387304"/>
              <a:gd name="connsiteY160" fmla="*/ 0 h 2387303"/>
              <a:gd name="connsiteX161" fmla="*/ 954921 w 2387304"/>
              <a:gd name="connsiteY161" fmla="*/ 0 h 2387303"/>
              <a:gd name="connsiteX162" fmla="*/ 875344 w 2387304"/>
              <a:gd name="connsiteY162" fmla="*/ 238731 h 2387303"/>
              <a:gd name="connsiteX163" fmla="*/ 795768 w 2387304"/>
              <a:gd name="connsiteY163" fmla="*/ 238731 h 2387303"/>
              <a:gd name="connsiteX164" fmla="*/ 795768 w 2387304"/>
              <a:gd name="connsiteY164" fmla="*/ 358096 h 2387303"/>
              <a:gd name="connsiteX165" fmla="*/ 915134 w 2387304"/>
              <a:gd name="connsiteY165" fmla="*/ 358096 h 2387303"/>
              <a:gd name="connsiteX166" fmla="*/ 939007 w 2387304"/>
              <a:gd name="connsiteY166" fmla="*/ 366054 h 2387303"/>
              <a:gd name="connsiteX167" fmla="*/ 1153865 w 2387304"/>
              <a:gd name="connsiteY167" fmla="*/ 527197 h 2387303"/>
              <a:gd name="connsiteX168" fmla="*/ 1153865 w 2387304"/>
              <a:gd name="connsiteY168" fmla="*/ 437673 h 2387303"/>
              <a:gd name="connsiteX169" fmla="*/ 1233441 w 2387304"/>
              <a:gd name="connsiteY169" fmla="*/ 437673 h 2387303"/>
              <a:gd name="connsiteX170" fmla="*/ 1233441 w 2387304"/>
              <a:gd name="connsiteY170" fmla="*/ 586879 h 2387303"/>
              <a:gd name="connsiteX171" fmla="*/ 1257274 w 2387304"/>
              <a:gd name="connsiteY171" fmla="*/ 604784 h 2387303"/>
              <a:gd name="connsiteX172" fmla="*/ 1271161 w 2387304"/>
              <a:gd name="connsiteY172" fmla="*/ 649189 h 2387303"/>
              <a:gd name="connsiteX173" fmla="*/ 1233441 w 2387304"/>
              <a:gd name="connsiteY173" fmla="*/ 676404 h 2387303"/>
              <a:gd name="connsiteX174" fmla="*/ 1233441 w 2387304"/>
              <a:gd name="connsiteY174" fmla="*/ 755981 h 2387303"/>
              <a:gd name="connsiteX175" fmla="*/ 1153865 w 2387304"/>
              <a:gd name="connsiteY175" fmla="*/ 755981 h 2387303"/>
              <a:gd name="connsiteX176" fmla="*/ 1153865 w 2387304"/>
              <a:gd name="connsiteY176" fmla="*/ 676404 h 2387303"/>
              <a:gd name="connsiteX177" fmla="*/ 795768 w 2387304"/>
              <a:gd name="connsiteY177" fmla="*/ 676404 h 2387303"/>
              <a:gd name="connsiteX178" fmla="*/ 795768 w 2387304"/>
              <a:gd name="connsiteY178" fmla="*/ 596826 h 2387303"/>
              <a:gd name="connsiteX179" fmla="*/ 1114076 w 2387304"/>
              <a:gd name="connsiteY179" fmla="*/ 596826 h 2387303"/>
              <a:gd name="connsiteX180" fmla="*/ 901885 w 2387304"/>
              <a:gd name="connsiteY180" fmla="*/ 437673 h 2387303"/>
              <a:gd name="connsiteX181" fmla="*/ 795768 w 2387304"/>
              <a:gd name="connsiteY181" fmla="*/ 437673 h 2387303"/>
              <a:gd name="connsiteX182" fmla="*/ 795768 w 2387304"/>
              <a:gd name="connsiteY182" fmla="*/ 586999 h 2387303"/>
              <a:gd name="connsiteX183" fmla="*/ 595752 w 2387304"/>
              <a:gd name="connsiteY183" fmla="*/ 437672 h 2387303"/>
              <a:gd name="connsiteX184" fmla="*/ 795768 w 2387304"/>
              <a:gd name="connsiteY184" fmla="*/ 437672 h 2387303"/>
              <a:gd name="connsiteX185" fmla="*/ 795768 w 2387304"/>
              <a:gd name="connsiteY185" fmla="*/ 358097 h 2387303"/>
              <a:gd name="connsiteX186" fmla="*/ 489158 w 2387304"/>
              <a:gd name="connsiteY186" fmla="*/ 358097 h 2387303"/>
              <a:gd name="connsiteX187" fmla="*/ 477461 w 2387304"/>
              <a:gd name="connsiteY187" fmla="*/ 349343 h 2387303"/>
              <a:gd name="connsiteX188" fmla="*/ 477461 w 2387304"/>
              <a:gd name="connsiteY188" fmla="*/ 238731 h 2387303"/>
              <a:gd name="connsiteX189" fmla="*/ 397884 w 2387304"/>
              <a:gd name="connsiteY189" fmla="*/ 238731 h 238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2387304" h="2387303">
                <a:moveTo>
                  <a:pt x="636615" y="1909843"/>
                </a:moveTo>
                <a:lnTo>
                  <a:pt x="318308" y="2228150"/>
                </a:lnTo>
                <a:lnTo>
                  <a:pt x="954923" y="2228150"/>
                </a:lnTo>
                <a:close/>
                <a:moveTo>
                  <a:pt x="795768" y="1163810"/>
                </a:moveTo>
                <a:lnTo>
                  <a:pt x="795768" y="1313016"/>
                </a:lnTo>
                <a:lnTo>
                  <a:pt x="915134" y="1313016"/>
                </a:lnTo>
                <a:cubicBezTo>
                  <a:pt x="923768" y="1313016"/>
                  <a:pt x="932123" y="1315801"/>
                  <a:pt x="939007" y="1320974"/>
                </a:cubicBezTo>
                <a:lnTo>
                  <a:pt x="1153864" y="1482118"/>
                </a:lnTo>
                <a:lnTo>
                  <a:pt x="1153864" y="1392593"/>
                </a:lnTo>
                <a:lnTo>
                  <a:pt x="1233440" y="1392593"/>
                </a:lnTo>
                <a:lnTo>
                  <a:pt x="1233440" y="1541800"/>
                </a:lnTo>
                <a:lnTo>
                  <a:pt x="1257274" y="1559705"/>
                </a:lnTo>
                <a:cubicBezTo>
                  <a:pt x="1271001" y="1569971"/>
                  <a:pt x="1276611" y="1587875"/>
                  <a:pt x="1271160" y="1604109"/>
                </a:cubicBezTo>
                <a:cubicBezTo>
                  <a:pt x="1265749" y="1620382"/>
                  <a:pt x="1250589" y="1631324"/>
                  <a:pt x="1233440" y="1631324"/>
                </a:cubicBezTo>
                <a:lnTo>
                  <a:pt x="1233440" y="1710901"/>
                </a:lnTo>
                <a:lnTo>
                  <a:pt x="1153864" y="1710901"/>
                </a:lnTo>
                <a:lnTo>
                  <a:pt x="1153864" y="1631324"/>
                </a:lnTo>
                <a:lnTo>
                  <a:pt x="780888" y="1631324"/>
                </a:lnTo>
                <a:lnTo>
                  <a:pt x="845623" y="1680105"/>
                </a:lnTo>
                <a:lnTo>
                  <a:pt x="862931" y="1710901"/>
                </a:lnTo>
                <a:lnTo>
                  <a:pt x="410338" y="1710901"/>
                </a:lnTo>
                <a:lnTo>
                  <a:pt x="455101" y="1631324"/>
                </a:lnTo>
                <a:lnTo>
                  <a:pt x="79577" y="1631324"/>
                </a:lnTo>
                <a:lnTo>
                  <a:pt x="79577" y="1710901"/>
                </a:lnTo>
                <a:lnTo>
                  <a:pt x="0" y="1710901"/>
                </a:lnTo>
                <a:lnTo>
                  <a:pt x="0" y="1392593"/>
                </a:lnTo>
                <a:lnTo>
                  <a:pt x="79577" y="1392593"/>
                </a:lnTo>
                <a:lnTo>
                  <a:pt x="79577" y="1511959"/>
                </a:lnTo>
                <a:lnTo>
                  <a:pt x="334222" y="1320974"/>
                </a:lnTo>
                <a:cubicBezTo>
                  <a:pt x="341106" y="1315801"/>
                  <a:pt x="349461" y="1313016"/>
                  <a:pt x="358096" y="1313016"/>
                </a:cubicBezTo>
                <a:lnTo>
                  <a:pt x="477462" y="1313016"/>
                </a:lnTo>
                <a:lnTo>
                  <a:pt x="477462" y="1392593"/>
                </a:lnTo>
                <a:lnTo>
                  <a:pt x="371345" y="1392593"/>
                </a:lnTo>
                <a:lnTo>
                  <a:pt x="159154" y="1551747"/>
                </a:lnTo>
                <a:lnTo>
                  <a:pt x="477462" y="1551747"/>
                </a:lnTo>
                <a:lnTo>
                  <a:pt x="477462" y="1402620"/>
                </a:lnTo>
                <a:lnTo>
                  <a:pt x="675329" y="1551747"/>
                </a:lnTo>
                <a:lnTo>
                  <a:pt x="1114075" y="1551747"/>
                </a:lnTo>
                <a:lnTo>
                  <a:pt x="901884" y="1392593"/>
                </a:lnTo>
                <a:lnTo>
                  <a:pt x="795768" y="1392593"/>
                </a:lnTo>
                <a:lnTo>
                  <a:pt x="795768" y="1541801"/>
                </a:lnTo>
                <a:lnTo>
                  <a:pt x="596826" y="1392593"/>
                </a:lnTo>
                <a:lnTo>
                  <a:pt x="795768" y="1392593"/>
                </a:lnTo>
                <a:lnTo>
                  <a:pt x="795768" y="1313018"/>
                </a:lnTo>
                <a:lnTo>
                  <a:pt x="596826" y="1313018"/>
                </a:lnTo>
                <a:close/>
                <a:moveTo>
                  <a:pt x="596826" y="915133"/>
                </a:moveTo>
                <a:lnTo>
                  <a:pt x="795768" y="915133"/>
                </a:lnTo>
                <a:lnTo>
                  <a:pt x="795768" y="1064341"/>
                </a:lnTo>
                <a:close/>
                <a:moveTo>
                  <a:pt x="358097" y="835556"/>
                </a:moveTo>
                <a:lnTo>
                  <a:pt x="477462" y="835556"/>
                </a:lnTo>
                <a:lnTo>
                  <a:pt x="477462" y="915133"/>
                </a:lnTo>
                <a:lnTo>
                  <a:pt x="371346" y="915133"/>
                </a:lnTo>
                <a:lnTo>
                  <a:pt x="159154" y="1074286"/>
                </a:lnTo>
                <a:lnTo>
                  <a:pt x="477461" y="1074286"/>
                </a:lnTo>
                <a:lnTo>
                  <a:pt x="477461" y="925080"/>
                </a:lnTo>
                <a:lnTo>
                  <a:pt x="676403" y="1074288"/>
                </a:lnTo>
                <a:lnTo>
                  <a:pt x="477462" y="1074288"/>
                </a:lnTo>
                <a:lnTo>
                  <a:pt x="477462" y="1153863"/>
                </a:lnTo>
                <a:lnTo>
                  <a:pt x="676403" y="1153863"/>
                </a:lnTo>
                <a:lnTo>
                  <a:pt x="477461" y="1303071"/>
                </a:lnTo>
                <a:lnTo>
                  <a:pt x="477461" y="1153864"/>
                </a:lnTo>
                <a:lnTo>
                  <a:pt x="79577" y="1153864"/>
                </a:lnTo>
                <a:lnTo>
                  <a:pt x="79577" y="1233441"/>
                </a:lnTo>
                <a:lnTo>
                  <a:pt x="0" y="1233441"/>
                </a:lnTo>
                <a:lnTo>
                  <a:pt x="0" y="915133"/>
                </a:lnTo>
                <a:lnTo>
                  <a:pt x="79577" y="915133"/>
                </a:lnTo>
                <a:lnTo>
                  <a:pt x="79577" y="1034498"/>
                </a:lnTo>
                <a:lnTo>
                  <a:pt x="334223" y="843514"/>
                </a:lnTo>
                <a:cubicBezTo>
                  <a:pt x="341107" y="838341"/>
                  <a:pt x="349462" y="835556"/>
                  <a:pt x="358097" y="835556"/>
                </a:cubicBezTo>
                <a:close/>
                <a:moveTo>
                  <a:pt x="795768" y="686350"/>
                </a:moveTo>
                <a:lnTo>
                  <a:pt x="795768" y="835556"/>
                </a:lnTo>
                <a:lnTo>
                  <a:pt x="915134" y="835556"/>
                </a:lnTo>
                <a:cubicBezTo>
                  <a:pt x="923768" y="835556"/>
                  <a:pt x="932124" y="838341"/>
                  <a:pt x="939007" y="843514"/>
                </a:cubicBezTo>
                <a:lnTo>
                  <a:pt x="1153865" y="1004657"/>
                </a:lnTo>
                <a:lnTo>
                  <a:pt x="1153865" y="915133"/>
                </a:lnTo>
                <a:lnTo>
                  <a:pt x="1233441" y="915133"/>
                </a:lnTo>
                <a:lnTo>
                  <a:pt x="1233441" y="1064339"/>
                </a:lnTo>
                <a:lnTo>
                  <a:pt x="1257274" y="1082244"/>
                </a:lnTo>
                <a:cubicBezTo>
                  <a:pt x="1271001" y="1092511"/>
                  <a:pt x="1276612" y="1110415"/>
                  <a:pt x="1271161" y="1126649"/>
                </a:cubicBezTo>
                <a:cubicBezTo>
                  <a:pt x="1265749" y="1142922"/>
                  <a:pt x="1250590" y="1153864"/>
                  <a:pt x="1233441" y="1153864"/>
                </a:cubicBezTo>
                <a:lnTo>
                  <a:pt x="1233441" y="1233441"/>
                </a:lnTo>
                <a:lnTo>
                  <a:pt x="1153865" y="1233441"/>
                </a:lnTo>
                <a:lnTo>
                  <a:pt x="1153865" y="1153864"/>
                </a:lnTo>
                <a:lnTo>
                  <a:pt x="795768" y="1153864"/>
                </a:lnTo>
                <a:lnTo>
                  <a:pt x="795768" y="1074286"/>
                </a:lnTo>
                <a:lnTo>
                  <a:pt x="1114076" y="1074286"/>
                </a:lnTo>
                <a:lnTo>
                  <a:pt x="901885" y="915133"/>
                </a:lnTo>
                <a:lnTo>
                  <a:pt x="795768" y="915133"/>
                </a:lnTo>
                <a:lnTo>
                  <a:pt x="795768" y="835558"/>
                </a:lnTo>
                <a:lnTo>
                  <a:pt x="596826" y="835558"/>
                </a:lnTo>
                <a:close/>
                <a:moveTo>
                  <a:pt x="358097" y="358096"/>
                </a:moveTo>
                <a:lnTo>
                  <a:pt x="477462" y="358096"/>
                </a:lnTo>
                <a:lnTo>
                  <a:pt x="477462" y="437673"/>
                </a:lnTo>
                <a:lnTo>
                  <a:pt x="371346" y="437673"/>
                </a:lnTo>
                <a:lnTo>
                  <a:pt x="159154" y="596826"/>
                </a:lnTo>
                <a:lnTo>
                  <a:pt x="477461" y="596826"/>
                </a:lnTo>
                <a:lnTo>
                  <a:pt x="477461" y="447619"/>
                </a:lnTo>
                <a:lnTo>
                  <a:pt x="676403" y="596827"/>
                </a:lnTo>
                <a:lnTo>
                  <a:pt x="477462" y="596827"/>
                </a:lnTo>
                <a:lnTo>
                  <a:pt x="477462" y="676403"/>
                </a:lnTo>
                <a:lnTo>
                  <a:pt x="676403" y="676403"/>
                </a:lnTo>
                <a:lnTo>
                  <a:pt x="477461" y="825611"/>
                </a:lnTo>
                <a:lnTo>
                  <a:pt x="477461" y="676404"/>
                </a:lnTo>
                <a:lnTo>
                  <a:pt x="79577" y="676404"/>
                </a:lnTo>
                <a:lnTo>
                  <a:pt x="79577" y="755981"/>
                </a:lnTo>
                <a:lnTo>
                  <a:pt x="0" y="755981"/>
                </a:lnTo>
                <a:lnTo>
                  <a:pt x="0" y="437673"/>
                </a:lnTo>
                <a:lnTo>
                  <a:pt x="79577" y="437673"/>
                </a:lnTo>
                <a:lnTo>
                  <a:pt x="79577" y="557038"/>
                </a:lnTo>
                <a:lnTo>
                  <a:pt x="334223" y="366054"/>
                </a:lnTo>
                <a:cubicBezTo>
                  <a:pt x="341107" y="360881"/>
                  <a:pt x="349462" y="358096"/>
                  <a:pt x="358097" y="358096"/>
                </a:cubicBezTo>
                <a:close/>
                <a:moveTo>
                  <a:pt x="1909843" y="0"/>
                </a:moveTo>
                <a:cubicBezTo>
                  <a:pt x="1953809" y="0"/>
                  <a:pt x="1989420" y="35611"/>
                  <a:pt x="1989420" y="79577"/>
                </a:cubicBezTo>
                <a:lnTo>
                  <a:pt x="1989420" y="238730"/>
                </a:lnTo>
                <a:lnTo>
                  <a:pt x="2148573" y="238730"/>
                </a:lnTo>
                <a:lnTo>
                  <a:pt x="2148573" y="79577"/>
                </a:lnTo>
                <a:cubicBezTo>
                  <a:pt x="2148573" y="35611"/>
                  <a:pt x="2184184" y="0"/>
                  <a:pt x="2228150" y="0"/>
                </a:cubicBezTo>
                <a:cubicBezTo>
                  <a:pt x="2272116" y="0"/>
                  <a:pt x="2307727" y="35611"/>
                  <a:pt x="2307727" y="79577"/>
                </a:cubicBezTo>
                <a:lnTo>
                  <a:pt x="2307727" y="238730"/>
                </a:lnTo>
                <a:lnTo>
                  <a:pt x="2387304" y="238730"/>
                </a:lnTo>
                <a:lnTo>
                  <a:pt x="2387304" y="397884"/>
                </a:lnTo>
                <a:cubicBezTo>
                  <a:pt x="2387304" y="485776"/>
                  <a:pt x="2316043" y="557037"/>
                  <a:pt x="2228150" y="557037"/>
                </a:cubicBezTo>
                <a:lnTo>
                  <a:pt x="2148573" y="557037"/>
                </a:lnTo>
                <a:lnTo>
                  <a:pt x="2148573" y="716191"/>
                </a:lnTo>
                <a:lnTo>
                  <a:pt x="2108785" y="716191"/>
                </a:lnTo>
                <a:lnTo>
                  <a:pt x="2108785" y="2228150"/>
                </a:lnTo>
                <a:cubicBezTo>
                  <a:pt x="2108785" y="2315923"/>
                  <a:pt x="2037405" y="2387303"/>
                  <a:pt x="1949632" y="2387303"/>
                </a:cubicBezTo>
                <a:cubicBezTo>
                  <a:pt x="1861858" y="2387303"/>
                  <a:pt x="1790478" y="2315923"/>
                  <a:pt x="1790478" y="2228150"/>
                </a:cubicBezTo>
                <a:lnTo>
                  <a:pt x="1790478" y="1114074"/>
                </a:lnTo>
                <a:cubicBezTo>
                  <a:pt x="1790478" y="1070188"/>
                  <a:pt x="1754788" y="1034498"/>
                  <a:pt x="1710901" y="1034498"/>
                </a:cubicBezTo>
                <a:cubicBezTo>
                  <a:pt x="1667015" y="1034498"/>
                  <a:pt x="1631325" y="1070188"/>
                  <a:pt x="1631325" y="1114074"/>
                </a:cubicBezTo>
                <a:lnTo>
                  <a:pt x="1631325" y="2188361"/>
                </a:lnTo>
                <a:cubicBezTo>
                  <a:pt x="1631325" y="2298058"/>
                  <a:pt x="1542079" y="2387303"/>
                  <a:pt x="1432383" y="2387303"/>
                </a:cubicBezTo>
                <a:lnTo>
                  <a:pt x="1233441" y="2387303"/>
                </a:lnTo>
                <a:lnTo>
                  <a:pt x="1193653" y="2387303"/>
                </a:lnTo>
                <a:lnTo>
                  <a:pt x="39789" y="2387303"/>
                </a:lnTo>
                <a:lnTo>
                  <a:pt x="39789" y="2228150"/>
                </a:lnTo>
                <a:lnTo>
                  <a:pt x="119366" y="2228150"/>
                </a:lnTo>
                <a:lnTo>
                  <a:pt x="365576" y="1790478"/>
                </a:lnTo>
                <a:lnTo>
                  <a:pt x="907654" y="1790478"/>
                </a:lnTo>
                <a:lnTo>
                  <a:pt x="1153864" y="2228150"/>
                </a:lnTo>
                <a:lnTo>
                  <a:pt x="1233441" y="2228150"/>
                </a:lnTo>
                <a:lnTo>
                  <a:pt x="1233441" y="2307726"/>
                </a:lnTo>
                <a:lnTo>
                  <a:pt x="1432383" y="2307726"/>
                </a:lnTo>
                <a:cubicBezTo>
                  <a:pt x="1498193" y="2307726"/>
                  <a:pt x="1551748" y="2254171"/>
                  <a:pt x="1551748" y="2188361"/>
                </a:cubicBezTo>
                <a:lnTo>
                  <a:pt x="1551748" y="1114074"/>
                </a:lnTo>
                <a:cubicBezTo>
                  <a:pt x="1551748" y="1026301"/>
                  <a:pt x="1623128" y="954921"/>
                  <a:pt x="1710901" y="954921"/>
                </a:cubicBezTo>
                <a:cubicBezTo>
                  <a:pt x="1798675" y="954921"/>
                  <a:pt x="1870055" y="1026301"/>
                  <a:pt x="1870055" y="1114074"/>
                </a:cubicBezTo>
                <a:lnTo>
                  <a:pt x="1870055" y="2228150"/>
                </a:lnTo>
                <a:cubicBezTo>
                  <a:pt x="1870055" y="2272036"/>
                  <a:pt x="1905745" y="2307726"/>
                  <a:pt x="1949632" y="2307726"/>
                </a:cubicBezTo>
                <a:cubicBezTo>
                  <a:pt x="1993518" y="2307726"/>
                  <a:pt x="2029208" y="2272036"/>
                  <a:pt x="2029208" y="2228150"/>
                </a:cubicBezTo>
                <a:lnTo>
                  <a:pt x="2029208" y="716191"/>
                </a:lnTo>
                <a:lnTo>
                  <a:pt x="1989420" y="716191"/>
                </a:lnTo>
                <a:lnTo>
                  <a:pt x="1989420" y="557037"/>
                </a:lnTo>
                <a:lnTo>
                  <a:pt x="1909843" y="557037"/>
                </a:lnTo>
                <a:cubicBezTo>
                  <a:pt x="1821951" y="557037"/>
                  <a:pt x="1750690" y="485776"/>
                  <a:pt x="1750690" y="397884"/>
                </a:cubicBezTo>
                <a:lnTo>
                  <a:pt x="1750690" y="238730"/>
                </a:lnTo>
                <a:lnTo>
                  <a:pt x="1830267" y="238730"/>
                </a:lnTo>
                <a:lnTo>
                  <a:pt x="1830267" y="79577"/>
                </a:lnTo>
                <a:cubicBezTo>
                  <a:pt x="1830267" y="35611"/>
                  <a:pt x="1865877" y="0"/>
                  <a:pt x="1909843" y="0"/>
                </a:cubicBezTo>
                <a:close/>
                <a:moveTo>
                  <a:pt x="318307" y="0"/>
                </a:moveTo>
                <a:lnTo>
                  <a:pt x="954921" y="0"/>
                </a:lnTo>
                <a:lnTo>
                  <a:pt x="875344" y="238731"/>
                </a:lnTo>
                <a:lnTo>
                  <a:pt x="795768" y="238731"/>
                </a:lnTo>
                <a:lnTo>
                  <a:pt x="795768" y="358096"/>
                </a:lnTo>
                <a:lnTo>
                  <a:pt x="915134" y="358096"/>
                </a:lnTo>
                <a:cubicBezTo>
                  <a:pt x="923768" y="358096"/>
                  <a:pt x="932124" y="360881"/>
                  <a:pt x="939007" y="366054"/>
                </a:cubicBezTo>
                <a:lnTo>
                  <a:pt x="1153865" y="527197"/>
                </a:lnTo>
                <a:lnTo>
                  <a:pt x="1153865" y="437673"/>
                </a:lnTo>
                <a:lnTo>
                  <a:pt x="1233441" y="437673"/>
                </a:lnTo>
                <a:lnTo>
                  <a:pt x="1233441" y="586879"/>
                </a:lnTo>
                <a:lnTo>
                  <a:pt x="1257274" y="604784"/>
                </a:lnTo>
                <a:cubicBezTo>
                  <a:pt x="1271001" y="615051"/>
                  <a:pt x="1276612" y="632955"/>
                  <a:pt x="1271161" y="649189"/>
                </a:cubicBezTo>
                <a:cubicBezTo>
                  <a:pt x="1265749" y="665462"/>
                  <a:pt x="1250590" y="676404"/>
                  <a:pt x="1233441" y="676404"/>
                </a:cubicBezTo>
                <a:lnTo>
                  <a:pt x="1233441" y="755981"/>
                </a:lnTo>
                <a:lnTo>
                  <a:pt x="1153865" y="755981"/>
                </a:lnTo>
                <a:lnTo>
                  <a:pt x="1153865" y="676404"/>
                </a:lnTo>
                <a:lnTo>
                  <a:pt x="795768" y="676404"/>
                </a:lnTo>
                <a:lnTo>
                  <a:pt x="795768" y="596826"/>
                </a:lnTo>
                <a:lnTo>
                  <a:pt x="1114076" y="596826"/>
                </a:lnTo>
                <a:lnTo>
                  <a:pt x="901885" y="437673"/>
                </a:lnTo>
                <a:lnTo>
                  <a:pt x="795768" y="437673"/>
                </a:lnTo>
                <a:lnTo>
                  <a:pt x="795768" y="586999"/>
                </a:lnTo>
                <a:lnTo>
                  <a:pt x="595752" y="437672"/>
                </a:lnTo>
                <a:lnTo>
                  <a:pt x="795768" y="437672"/>
                </a:lnTo>
                <a:lnTo>
                  <a:pt x="795768" y="358097"/>
                </a:lnTo>
                <a:lnTo>
                  <a:pt x="489158" y="358097"/>
                </a:lnTo>
                <a:lnTo>
                  <a:pt x="477461" y="349343"/>
                </a:lnTo>
                <a:lnTo>
                  <a:pt x="477461" y="238731"/>
                </a:lnTo>
                <a:lnTo>
                  <a:pt x="397884" y="238731"/>
                </a:lnTo>
                <a:close/>
              </a:path>
            </a:pathLst>
          </a:custGeom>
          <a:solidFill>
            <a:schemeClr val="accent4"/>
          </a:solidFill>
          <a:ln w="9525" cap="flat">
            <a:noFill/>
            <a:prstDash val="solid"/>
            <a:miter/>
          </a:ln>
        </p:spPr>
        <p:txBody>
          <a:bodyPr rtlCol="0" anchor="ctr"/>
          <a:lstStyle/>
          <a:p>
            <a:endParaRPr lang="en-US"/>
          </a:p>
        </p:txBody>
      </p:sp>
      <p:sp>
        <p:nvSpPr>
          <p:cNvPr id="127" name="Freeform 17">
            <a:extLst>
              <a:ext uri="{FF2B5EF4-FFF2-40B4-BE49-F238E27FC236}">
                <a16:creationId xmlns:a16="http://schemas.microsoft.com/office/drawing/2014/main" id="{C582A004-3B4A-4036-B49C-28D5731494A4}"/>
              </a:ext>
            </a:extLst>
          </p:cNvPr>
          <p:cNvSpPr>
            <a:spLocks noEditPoints="1"/>
          </p:cNvSpPr>
          <p:nvPr/>
        </p:nvSpPr>
        <p:spPr bwMode="auto">
          <a:xfrm>
            <a:off x="1780439" y="6447392"/>
            <a:ext cx="101585" cy="152400"/>
          </a:xfrm>
          <a:custGeom>
            <a:avLst/>
            <a:gdLst>
              <a:gd name="T0" fmla="*/ 11 w 564"/>
              <a:gd name="T1" fmla="*/ 732 h 846"/>
              <a:gd name="T2" fmla="*/ 8 w 564"/>
              <a:gd name="T3" fmla="*/ 778 h 846"/>
              <a:gd name="T4" fmla="*/ 54 w 564"/>
              <a:gd name="T5" fmla="*/ 814 h 846"/>
              <a:gd name="T6" fmla="*/ 173 w 564"/>
              <a:gd name="T7" fmla="*/ 841 h 846"/>
              <a:gd name="T8" fmla="*/ 305 w 564"/>
              <a:gd name="T9" fmla="*/ 845 h 846"/>
              <a:gd name="T10" fmla="*/ 450 w 564"/>
              <a:gd name="T11" fmla="*/ 829 h 846"/>
              <a:gd name="T12" fmla="*/ 535 w 564"/>
              <a:gd name="T13" fmla="*/ 796 h 846"/>
              <a:gd name="T14" fmla="*/ 547 w 564"/>
              <a:gd name="T15" fmla="*/ 742 h 846"/>
              <a:gd name="T16" fmla="*/ 535 w 564"/>
              <a:gd name="T17" fmla="*/ 634 h 846"/>
              <a:gd name="T18" fmla="*/ 564 w 564"/>
              <a:gd name="T19" fmla="*/ 617 h 846"/>
              <a:gd name="T20" fmla="*/ 547 w 564"/>
              <a:gd name="T21" fmla="*/ 569 h 846"/>
              <a:gd name="T22" fmla="*/ 560 w 564"/>
              <a:gd name="T23" fmla="*/ 255 h 846"/>
              <a:gd name="T24" fmla="*/ 560 w 564"/>
              <a:gd name="T25" fmla="*/ 200 h 846"/>
              <a:gd name="T26" fmla="*/ 534 w 564"/>
              <a:gd name="T27" fmla="*/ 67 h 846"/>
              <a:gd name="T28" fmla="*/ 477 w 564"/>
              <a:gd name="T29" fmla="*/ 27 h 846"/>
              <a:gd name="T30" fmla="*/ 354 w 564"/>
              <a:gd name="T31" fmla="*/ 3 h 846"/>
              <a:gd name="T32" fmla="*/ 226 w 564"/>
              <a:gd name="T33" fmla="*/ 1 h 846"/>
              <a:gd name="T34" fmla="*/ 96 w 564"/>
              <a:gd name="T35" fmla="*/ 21 h 846"/>
              <a:gd name="T36" fmla="*/ 26 w 564"/>
              <a:gd name="T37" fmla="*/ 60 h 846"/>
              <a:gd name="T38" fmla="*/ 10 w 564"/>
              <a:gd name="T39" fmla="*/ 197 h 846"/>
              <a:gd name="T40" fmla="*/ 1 w 564"/>
              <a:gd name="T41" fmla="*/ 249 h 846"/>
              <a:gd name="T42" fmla="*/ 16 w 564"/>
              <a:gd name="T43" fmla="*/ 569 h 846"/>
              <a:gd name="T44" fmla="*/ 0 w 564"/>
              <a:gd name="T45" fmla="*/ 617 h 846"/>
              <a:gd name="T46" fmla="*/ 16 w 564"/>
              <a:gd name="T47" fmla="*/ 634 h 846"/>
              <a:gd name="T48" fmla="*/ 397 w 564"/>
              <a:gd name="T49" fmla="*/ 49 h 846"/>
              <a:gd name="T50" fmla="*/ 462 w 564"/>
              <a:gd name="T51" fmla="*/ 75 h 846"/>
              <a:gd name="T52" fmla="*/ 459 w 564"/>
              <a:gd name="T53" fmla="*/ 99 h 846"/>
              <a:gd name="T54" fmla="*/ 352 w 564"/>
              <a:gd name="T55" fmla="*/ 127 h 846"/>
              <a:gd name="T56" fmla="*/ 171 w 564"/>
              <a:gd name="T57" fmla="*/ 124 h 846"/>
              <a:gd name="T58" fmla="*/ 91 w 564"/>
              <a:gd name="T59" fmla="*/ 94 h 846"/>
              <a:gd name="T60" fmla="*/ 92 w 564"/>
              <a:gd name="T61" fmla="*/ 75 h 846"/>
              <a:gd name="T62" fmla="*/ 184 w 564"/>
              <a:gd name="T63" fmla="*/ 45 h 846"/>
              <a:gd name="T64" fmla="*/ 82 w 564"/>
              <a:gd name="T65" fmla="*/ 406 h 846"/>
              <a:gd name="T66" fmla="*/ 96 w 564"/>
              <a:gd name="T67" fmla="*/ 354 h 846"/>
              <a:gd name="T68" fmla="*/ 133 w 564"/>
              <a:gd name="T69" fmla="*/ 323 h 846"/>
              <a:gd name="T70" fmla="*/ 175 w 564"/>
              <a:gd name="T71" fmla="*/ 317 h 846"/>
              <a:gd name="T72" fmla="*/ 220 w 564"/>
              <a:gd name="T73" fmla="*/ 335 h 846"/>
              <a:gd name="T74" fmla="*/ 245 w 564"/>
              <a:gd name="T75" fmla="*/ 375 h 846"/>
              <a:gd name="T76" fmla="*/ 246 w 564"/>
              <a:gd name="T77" fmla="*/ 423 h 846"/>
              <a:gd name="T78" fmla="*/ 225 w 564"/>
              <a:gd name="T79" fmla="*/ 469 h 846"/>
              <a:gd name="T80" fmla="*/ 182 w 564"/>
              <a:gd name="T81" fmla="*/ 491 h 846"/>
              <a:gd name="T82" fmla="*/ 138 w 564"/>
              <a:gd name="T83" fmla="*/ 489 h 846"/>
              <a:gd name="T84" fmla="*/ 100 w 564"/>
              <a:gd name="T85" fmla="*/ 463 h 846"/>
              <a:gd name="T86" fmla="*/ 83 w 564"/>
              <a:gd name="T87" fmla="*/ 415 h 846"/>
              <a:gd name="T88" fmla="*/ 277 w 564"/>
              <a:gd name="T89" fmla="*/ 325 h 846"/>
              <a:gd name="T90" fmla="*/ 317 w 564"/>
              <a:gd name="T91" fmla="*/ 319 h 846"/>
              <a:gd name="T92" fmla="*/ 323 w 564"/>
              <a:gd name="T93" fmla="*/ 484 h 846"/>
              <a:gd name="T94" fmla="*/ 282 w 564"/>
              <a:gd name="T95" fmla="*/ 490 h 846"/>
              <a:gd name="T96" fmla="*/ 461 w 564"/>
              <a:gd name="T97" fmla="*/ 449 h 846"/>
              <a:gd name="T98" fmla="*/ 470 w 564"/>
              <a:gd name="T99" fmla="*/ 481 h 846"/>
              <a:gd name="T100" fmla="*/ 368 w 564"/>
              <a:gd name="T101" fmla="*/ 490 h 846"/>
              <a:gd name="T102" fmla="*/ 359 w 564"/>
              <a:gd name="T103" fmla="*/ 328 h 846"/>
              <a:gd name="T104" fmla="*/ 397 w 564"/>
              <a:gd name="T105" fmla="*/ 319 h 846"/>
              <a:gd name="T106" fmla="*/ 461 w 564"/>
              <a:gd name="T107" fmla="*/ 44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4" h="846">
                <a:moveTo>
                  <a:pt x="16" y="634"/>
                </a:moveTo>
                <a:lnTo>
                  <a:pt x="20" y="634"/>
                </a:lnTo>
                <a:lnTo>
                  <a:pt x="20" y="720"/>
                </a:lnTo>
                <a:lnTo>
                  <a:pt x="20" y="720"/>
                </a:lnTo>
                <a:lnTo>
                  <a:pt x="15" y="726"/>
                </a:lnTo>
                <a:lnTo>
                  <a:pt x="11" y="732"/>
                </a:lnTo>
                <a:lnTo>
                  <a:pt x="9" y="737"/>
                </a:lnTo>
                <a:lnTo>
                  <a:pt x="8" y="742"/>
                </a:lnTo>
                <a:lnTo>
                  <a:pt x="8" y="742"/>
                </a:lnTo>
                <a:lnTo>
                  <a:pt x="8" y="774"/>
                </a:lnTo>
                <a:lnTo>
                  <a:pt x="8" y="774"/>
                </a:lnTo>
                <a:lnTo>
                  <a:pt x="8" y="778"/>
                </a:lnTo>
                <a:lnTo>
                  <a:pt x="9" y="781"/>
                </a:lnTo>
                <a:lnTo>
                  <a:pt x="14" y="789"/>
                </a:lnTo>
                <a:lnTo>
                  <a:pt x="20" y="796"/>
                </a:lnTo>
                <a:lnTo>
                  <a:pt x="29" y="802"/>
                </a:lnTo>
                <a:lnTo>
                  <a:pt x="41" y="808"/>
                </a:lnTo>
                <a:lnTo>
                  <a:pt x="54" y="814"/>
                </a:lnTo>
                <a:lnTo>
                  <a:pt x="70" y="819"/>
                </a:lnTo>
                <a:lnTo>
                  <a:pt x="87" y="825"/>
                </a:lnTo>
                <a:lnTo>
                  <a:pt x="106" y="829"/>
                </a:lnTo>
                <a:lnTo>
                  <a:pt x="127" y="834"/>
                </a:lnTo>
                <a:lnTo>
                  <a:pt x="150" y="837"/>
                </a:lnTo>
                <a:lnTo>
                  <a:pt x="173" y="841"/>
                </a:lnTo>
                <a:lnTo>
                  <a:pt x="198" y="843"/>
                </a:lnTo>
                <a:lnTo>
                  <a:pt x="224" y="844"/>
                </a:lnTo>
                <a:lnTo>
                  <a:pt x="250" y="845"/>
                </a:lnTo>
                <a:lnTo>
                  <a:pt x="278" y="846"/>
                </a:lnTo>
                <a:lnTo>
                  <a:pt x="278" y="846"/>
                </a:lnTo>
                <a:lnTo>
                  <a:pt x="305" y="845"/>
                </a:lnTo>
                <a:lnTo>
                  <a:pt x="332" y="844"/>
                </a:lnTo>
                <a:lnTo>
                  <a:pt x="357" y="843"/>
                </a:lnTo>
                <a:lnTo>
                  <a:pt x="382" y="841"/>
                </a:lnTo>
                <a:lnTo>
                  <a:pt x="406" y="837"/>
                </a:lnTo>
                <a:lnTo>
                  <a:pt x="428" y="834"/>
                </a:lnTo>
                <a:lnTo>
                  <a:pt x="450" y="829"/>
                </a:lnTo>
                <a:lnTo>
                  <a:pt x="469" y="825"/>
                </a:lnTo>
                <a:lnTo>
                  <a:pt x="486" y="819"/>
                </a:lnTo>
                <a:lnTo>
                  <a:pt x="501" y="814"/>
                </a:lnTo>
                <a:lnTo>
                  <a:pt x="515" y="808"/>
                </a:lnTo>
                <a:lnTo>
                  <a:pt x="526" y="802"/>
                </a:lnTo>
                <a:lnTo>
                  <a:pt x="535" y="796"/>
                </a:lnTo>
                <a:lnTo>
                  <a:pt x="542" y="789"/>
                </a:lnTo>
                <a:lnTo>
                  <a:pt x="546" y="781"/>
                </a:lnTo>
                <a:lnTo>
                  <a:pt x="547" y="778"/>
                </a:lnTo>
                <a:lnTo>
                  <a:pt x="547" y="774"/>
                </a:lnTo>
                <a:lnTo>
                  <a:pt x="547" y="774"/>
                </a:lnTo>
                <a:lnTo>
                  <a:pt x="547" y="742"/>
                </a:lnTo>
                <a:lnTo>
                  <a:pt x="547" y="742"/>
                </a:lnTo>
                <a:lnTo>
                  <a:pt x="546" y="737"/>
                </a:lnTo>
                <a:lnTo>
                  <a:pt x="544" y="732"/>
                </a:lnTo>
                <a:lnTo>
                  <a:pt x="541" y="726"/>
                </a:lnTo>
                <a:lnTo>
                  <a:pt x="535" y="720"/>
                </a:lnTo>
                <a:lnTo>
                  <a:pt x="535" y="634"/>
                </a:lnTo>
                <a:lnTo>
                  <a:pt x="547" y="634"/>
                </a:lnTo>
                <a:lnTo>
                  <a:pt x="547" y="634"/>
                </a:lnTo>
                <a:lnTo>
                  <a:pt x="554" y="633"/>
                </a:lnTo>
                <a:lnTo>
                  <a:pt x="560" y="629"/>
                </a:lnTo>
                <a:lnTo>
                  <a:pt x="563" y="624"/>
                </a:lnTo>
                <a:lnTo>
                  <a:pt x="564" y="617"/>
                </a:lnTo>
                <a:lnTo>
                  <a:pt x="564" y="585"/>
                </a:lnTo>
                <a:lnTo>
                  <a:pt x="564" y="585"/>
                </a:lnTo>
                <a:lnTo>
                  <a:pt x="563" y="579"/>
                </a:lnTo>
                <a:lnTo>
                  <a:pt x="560" y="574"/>
                </a:lnTo>
                <a:lnTo>
                  <a:pt x="554" y="571"/>
                </a:lnTo>
                <a:lnTo>
                  <a:pt x="547" y="569"/>
                </a:lnTo>
                <a:lnTo>
                  <a:pt x="535" y="569"/>
                </a:lnTo>
                <a:lnTo>
                  <a:pt x="535" y="260"/>
                </a:lnTo>
                <a:lnTo>
                  <a:pt x="547" y="260"/>
                </a:lnTo>
                <a:lnTo>
                  <a:pt x="547" y="260"/>
                </a:lnTo>
                <a:lnTo>
                  <a:pt x="554" y="258"/>
                </a:lnTo>
                <a:lnTo>
                  <a:pt x="560" y="255"/>
                </a:lnTo>
                <a:lnTo>
                  <a:pt x="563" y="249"/>
                </a:lnTo>
                <a:lnTo>
                  <a:pt x="564" y="244"/>
                </a:lnTo>
                <a:lnTo>
                  <a:pt x="564" y="211"/>
                </a:lnTo>
                <a:lnTo>
                  <a:pt x="564" y="211"/>
                </a:lnTo>
                <a:lnTo>
                  <a:pt x="563" y="206"/>
                </a:lnTo>
                <a:lnTo>
                  <a:pt x="560" y="200"/>
                </a:lnTo>
                <a:lnTo>
                  <a:pt x="554" y="197"/>
                </a:lnTo>
                <a:lnTo>
                  <a:pt x="547" y="196"/>
                </a:lnTo>
                <a:lnTo>
                  <a:pt x="535" y="196"/>
                </a:lnTo>
                <a:lnTo>
                  <a:pt x="535" y="75"/>
                </a:lnTo>
                <a:lnTo>
                  <a:pt x="535" y="75"/>
                </a:lnTo>
                <a:lnTo>
                  <a:pt x="534" y="67"/>
                </a:lnTo>
                <a:lnTo>
                  <a:pt x="529" y="60"/>
                </a:lnTo>
                <a:lnTo>
                  <a:pt x="524" y="53"/>
                </a:lnTo>
                <a:lnTo>
                  <a:pt x="515" y="46"/>
                </a:lnTo>
                <a:lnTo>
                  <a:pt x="504" y="39"/>
                </a:lnTo>
                <a:lnTo>
                  <a:pt x="491" y="33"/>
                </a:lnTo>
                <a:lnTo>
                  <a:pt x="477" y="27"/>
                </a:lnTo>
                <a:lnTo>
                  <a:pt x="460" y="21"/>
                </a:lnTo>
                <a:lnTo>
                  <a:pt x="442" y="17"/>
                </a:lnTo>
                <a:lnTo>
                  <a:pt x="421" y="12"/>
                </a:lnTo>
                <a:lnTo>
                  <a:pt x="400" y="9"/>
                </a:lnTo>
                <a:lnTo>
                  <a:pt x="378" y="6"/>
                </a:lnTo>
                <a:lnTo>
                  <a:pt x="354" y="3"/>
                </a:lnTo>
                <a:lnTo>
                  <a:pt x="329" y="1"/>
                </a:lnTo>
                <a:lnTo>
                  <a:pt x="303" y="0"/>
                </a:lnTo>
                <a:lnTo>
                  <a:pt x="278" y="0"/>
                </a:lnTo>
                <a:lnTo>
                  <a:pt x="278" y="0"/>
                </a:lnTo>
                <a:lnTo>
                  <a:pt x="252" y="0"/>
                </a:lnTo>
                <a:lnTo>
                  <a:pt x="226" y="1"/>
                </a:lnTo>
                <a:lnTo>
                  <a:pt x="201" y="3"/>
                </a:lnTo>
                <a:lnTo>
                  <a:pt x="178" y="6"/>
                </a:lnTo>
                <a:lnTo>
                  <a:pt x="155" y="9"/>
                </a:lnTo>
                <a:lnTo>
                  <a:pt x="134" y="12"/>
                </a:lnTo>
                <a:lnTo>
                  <a:pt x="114" y="17"/>
                </a:lnTo>
                <a:lnTo>
                  <a:pt x="96" y="21"/>
                </a:lnTo>
                <a:lnTo>
                  <a:pt x="79" y="27"/>
                </a:lnTo>
                <a:lnTo>
                  <a:pt x="64" y="33"/>
                </a:lnTo>
                <a:lnTo>
                  <a:pt x="52" y="39"/>
                </a:lnTo>
                <a:lnTo>
                  <a:pt x="41" y="46"/>
                </a:lnTo>
                <a:lnTo>
                  <a:pt x="32" y="53"/>
                </a:lnTo>
                <a:lnTo>
                  <a:pt x="26" y="60"/>
                </a:lnTo>
                <a:lnTo>
                  <a:pt x="21" y="67"/>
                </a:lnTo>
                <a:lnTo>
                  <a:pt x="20" y="75"/>
                </a:lnTo>
                <a:lnTo>
                  <a:pt x="20" y="196"/>
                </a:lnTo>
                <a:lnTo>
                  <a:pt x="16" y="196"/>
                </a:lnTo>
                <a:lnTo>
                  <a:pt x="16" y="196"/>
                </a:lnTo>
                <a:lnTo>
                  <a:pt x="10" y="197"/>
                </a:lnTo>
                <a:lnTo>
                  <a:pt x="5" y="200"/>
                </a:lnTo>
                <a:lnTo>
                  <a:pt x="1" y="206"/>
                </a:lnTo>
                <a:lnTo>
                  <a:pt x="0" y="211"/>
                </a:lnTo>
                <a:lnTo>
                  <a:pt x="0" y="244"/>
                </a:lnTo>
                <a:lnTo>
                  <a:pt x="0" y="244"/>
                </a:lnTo>
                <a:lnTo>
                  <a:pt x="1" y="249"/>
                </a:lnTo>
                <a:lnTo>
                  <a:pt x="5" y="255"/>
                </a:lnTo>
                <a:lnTo>
                  <a:pt x="10" y="258"/>
                </a:lnTo>
                <a:lnTo>
                  <a:pt x="16" y="260"/>
                </a:lnTo>
                <a:lnTo>
                  <a:pt x="20" y="260"/>
                </a:lnTo>
                <a:lnTo>
                  <a:pt x="20" y="569"/>
                </a:lnTo>
                <a:lnTo>
                  <a:pt x="16" y="569"/>
                </a:lnTo>
                <a:lnTo>
                  <a:pt x="16" y="569"/>
                </a:lnTo>
                <a:lnTo>
                  <a:pt x="10" y="571"/>
                </a:lnTo>
                <a:lnTo>
                  <a:pt x="5" y="574"/>
                </a:lnTo>
                <a:lnTo>
                  <a:pt x="1" y="579"/>
                </a:lnTo>
                <a:lnTo>
                  <a:pt x="0" y="585"/>
                </a:lnTo>
                <a:lnTo>
                  <a:pt x="0" y="617"/>
                </a:lnTo>
                <a:lnTo>
                  <a:pt x="0" y="617"/>
                </a:lnTo>
                <a:lnTo>
                  <a:pt x="1" y="624"/>
                </a:lnTo>
                <a:lnTo>
                  <a:pt x="5" y="629"/>
                </a:lnTo>
                <a:lnTo>
                  <a:pt x="10" y="633"/>
                </a:lnTo>
                <a:lnTo>
                  <a:pt x="16" y="634"/>
                </a:lnTo>
                <a:lnTo>
                  <a:pt x="16" y="634"/>
                </a:lnTo>
                <a:close/>
                <a:moveTo>
                  <a:pt x="278" y="39"/>
                </a:moveTo>
                <a:lnTo>
                  <a:pt x="278" y="39"/>
                </a:lnTo>
                <a:lnTo>
                  <a:pt x="310" y="40"/>
                </a:lnTo>
                <a:lnTo>
                  <a:pt x="342" y="43"/>
                </a:lnTo>
                <a:lnTo>
                  <a:pt x="370" y="45"/>
                </a:lnTo>
                <a:lnTo>
                  <a:pt x="397" y="49"/>
                </a:lnTo>
                <a:lnTo>
                  <a:pt x="419" y="55"/>
                </a:lnTo>
                <a:lnTo>
                  <a:pt x="438" y="61"/>
                </a:lnTo>
                <a:lnTo>
                  <a:pt x="453" y="67"/>
                </a:lnTo>
                <a:lnTo>
                  <a:pt x="459" y="71"/>
                </a:lnTo>
                <a:lnTo>
                  <a:pt x="462" y="75"/>
                </a:lnTo>
                <a:lnTo>
                  <a:pt x="462" y="75"/>
                </a:lnTo>
                <a:lnTo>
                  <a:pt x="466" y="80"/>
                </a:lnTo>
                <a:lnTo>
                  <a:pt x="468" y="85"/>
                </a:lnTo>
                <a:lnTo>
                  <a:pt x="468" y="85"/>
                </a:lnTo>
                <a:lnTo>
                  <a:pt x="466" y="90"/>
                </a:lnTo>
                <a:lnTo>
                  <a:pt x="464" y="94"/>
                </a:lnTo>
                <a:lnTo>
                  <a:pt x="459" y="99"/>
                </a:lnTo>
                <a:lnTo>
                  <a:pt x="453" y="103"/>
                </a:lnTo>
                <a:lnTo>
                  <a:pt x="445" y="107"/>
                </a:lnTo>
                <a:lnTo>
                  <a:pt x="435" y="111"/>
                </a:lnTo>
                <a:lnTo>
                  <a:pt x="411" y="118"/>
                </a:lnTo>
                <a:lnTo>
                  <a:pt x="383" y="124"/>
                </a:lnTo>
                <a:lnTo>
                  <a:pt x="352" y="127"/>
                </a:lnTo>
                <a:lnTo>
                  <a:pt x="316" y="130"/>
                </a:lnTo>
                <a:lnTo>
                  <a:pt x="278" y="130"/>
                </a:lnTo>
                <a:lnTo>
                  <a:pt x="278" y="130"/>
                </a:lnTo>
                <a:lnTo>
                  <a:pt x="239" y="130"/>
                </a:lnTo>
                <a:lnTo>
                  <a:pt x="203" y="127"/>
                </a:lnTo>
                <a:lnTo>
                  <a:pt x="171" y="124"/>
                </a:lnTo>
                <a:lnTo>
                  <a:pt x="143" y="118"/>
                </a:lnTo>
                <a:lnTo>
                  <a:pt x="120" y="111"/>
                </a:lnTo>
                <a:lnTo>
                  <a:pt x="110" y="107"/>
                </a:lnTo>
                <a:lnTo>
                  <a:pt x="102" y="103"/>
                </a:lnTo>
                <a:lnTo>
                  <a:pt x="97" y="99"/>
                </a:lnTo>
                <a:lnTo>
                  <a:pt x="91" y="94"/>
                </a:lnTo>
                <a:lnTo>
                  <a:pt x="89" y="90"/>
                </a:lnTo>
                <a:lnTo>
                  <a:pt x="88" y="85"/>
                </a:lnTo>
                <a:lnTo>
                  <a:pt x="88" y="85"/>
                </a:lnTo>
                <a:lnTo>
                  <a:pt x="89" y="80"/>
                </a:lnTo>
                <a:lnTo>
                  <a:pt x="92" y="75"/>
                </a:lnTo>
                <a:lnTo>
                  <a:pt x="92" y="75"/>
                </a:lnTo>
                <a:lnTo>
                  <a:pt x="97" y="71"/>
                </a:lnTo>
                <a:lnTo>
                  <a:pt x="102" y="67"/>
                </a:lnTo>
                <a:lnTo>
                  <a:pt x="117" y="61"/>
                </a:lnTo>
                <a:lnTo>
                  <a:pt x="136" y="55"/>
                </a:lnTo>
                <a:lnTo>
                  <a:pt x="159" y="49"/>
                </a:lnTo>
                <a:lnTo>
                  <a:pt x="184" y="45"/>
                </a:lnTo>
                <a:lnTo>
                  <a:pt x="214" y="43"/>
                </a:lnTo>
                <a:lnTo>
                  <a:pt x="245" y="40"/>
                </a:lnTo>
                <a:lnTo>
                  <a:pt x="278" y="39"/>
                </a:lnTo>
                <a:lnTo>
                  <a:pt x="278" y="39"/>
                </a:lnTo>
                <a:close/>
                <a:moveTo>
                  <a:pt x="82" y="406"/>
                </a:moveTo>
                <a:lnTo>
                  <a:pt x="82" y="406"/>
                </a:lnTo>
                <a:lnTo>
                  <a:pt x="83" y="396"/>
                </a:lnTo>
                <a:lnTo>
                  <a:pt x="84" y="387"/>
                </a:lnTo>
                <a:lnTo>
                  <a:pt x="87" y="378"/>
                </a:lnTo>
                <a:lnTo>
                  <a:pt x="89" y="370"/>
                </a:lnTo>
                <a:lnTo>
                  <a:pt x="92" y="362"/>
                </a:lnTo>
                <a:lnTo>
                  <a:pt x="96" y="354"/>
                </a:lnTo>
                <a:lnTo>
                  <a:pt x="101" y="347"/>
                </a:lnTo>
                <a:lnTo>
                  <a:pt x="106" y="340"/>
                </a:lnTo>
                <a:lnTo>
                  <a:pt x="111" y="335"/>
                </a:lnTo>
                <a:lnTo>
                  <a:pt x="118" y="330"/>
                </a:lnTo>
                <a:lnTo>
                  <a:pt x="125" y="326"/>
                </a:lnTo>
                <a:lnTo>
                  <a:pt x="133" y="323"/>
                </a:lnTo>
                <a:lnTo>
                  <a:pt x="141" y="320"/>
                </a:lnTo>
                <a:lnTo>
                  <a:pt x="148" y="318"/>
                </a:lnTo>
                <a:lnTo>
                  <a:pt x="157" y="317"/>
                </a:lnTo>
                <a:lnTo>
                  <a:pt x="166" y="316"/>
                </a:lnTo>
                <a:lnTo>
                  <a:pt x="166" y="316"/>
                </a:lnTo>
                <a:lnTo>
                  <a:pt x="175" y="317"/>
                </a:lnTo>
                <a:lnTo>
                  <a:pt x="184" y="318"/>
                </a:lnTo>
                <a:lnTo>
                  <a:pt x="192" y="319"/>
                </a:lnTo>
                <a:lnTo>
                  <a:pt x="200" y="323"/>
                </a:lnTo>
                <a:lnTo>
                  <a:pt x="207" y="326"/>
                </a:lnTo>
                <a:lnTo>
                  <a:pt x="214" y="329"/>
                </a:lnTo>
                <a:lnTo>
                  <a:pt x="220" y="335"/>
                </a:lnTo>
                <a:lnTo>
                  <a:pt x="226" y="339"/>
                </a:lnTo>
                <a:lnTo>
                  <a:pt x="230" y="346"/>
                </a:lnTo>
                <a:lnTo>
                  <a:pt x="235" y="353"/>
                </a:lnTo>
                <a:lnTo>
                  <a:pt x="239" y="360"/>
                </a:lnTo>
                <a:lnTo>
                  <a:pt x="243" y="367"/>
                </a:lnTo>
                <a:lnTo>
                  <a:pt x="245" y="375"/>
                </a:lnTo>
                <a:lnTo>
                  <a:pt x="246" y="384"/>
                </a:lnTo>
                <a:lnTo>
                  <a:pt x="247" y="393"/>
                </a:lnTo>
                <a:lnTo>
                  <a:pt x="248" y="402"/>
                </a:lnTo>
                <a:lnTo>
                  <a:pt x="248" y="402"/>
                </a:lnTo>
                <a:lnTo>
                  <a:pt x="247" y="412"/>
                </a:lnTo>
                <a:lnTo>
                  <a:pt x="246" y="423"/>
                </a:lnTo>
                <a:lnTo>
                  <a:pt x="245" y="432"/>
                </a:lnTo>
                <a:lnTo>
                  <a:pt x="242" y="440"/>
                </a:lnTo>
                <a:lnTo>
                  <a:pt x="239" y="448"/>
                </a:lnTo>
                <a:lnTo>
                  <a:pt x="235" y="455"/>
                </a:lnTo>
                <a:lnTo>
                  <a:pt x="230" y="462"/>
                </a:lnTo>
                <a:lnTo>
                  <a:pt x="225" y="469"/>
                </a:lnTo>
                <a:lnTo>
                  <a:pt x="219" y="474"/>
                </a:lnTo>
                <a:lnTo>
                  <a:pt x="212" y="479"/>
                </a:lnTo>
                <a:lnTo>
                  <a:pt x="206" y="483"/>
                </a:lnTo>
                <a:lnTo>
                  <a:pt x="199" y="487"/>
                </a:lnTo>
                <a:lnTo>
                  <a:pt x="191" y="490"/>
                </a:lnTo>
                <a:lnTo>
                  <a:pt x="182" y="491"/>
                </a:lnTo>
                <a:lnTo>
                  <a:pt x="173" y="492"/>
                </a:lnTo>
                <a:lnTo>
                  <a:pt x="164" y="493"/>
                </a:lnTo>
                <a:lnTo>
                  <a:pt x="164" y="493"/>
                </a:lnTo>
                <a:lnTo>
                  <a:pt x="155" y="492"/>
                </a:lnTo>
                <a:lnTo>
                  <a:pt x="146" y="491"/>
                </a:lnTo>
                <a:lnTo>
                  <a:pt x="138" y="489"/>
                </a:lnTo>
                <a:lnTo>
                  <a:pt x="130" y="487"/>
                </a:lnTo>
                <a:lnTo>
                  <a:pt x="124" y="483"/>
                </a:lnTo>
                <a:lnTo>
                  <a:pt x="117" y="479"/>
                </a:lnTo>
                <a:lnTo>
                  <a:pt x="111" y="474"/>
                </a:lnTo>
                <a:lnTo>
                  <a:pt x="106" y="469"/>
                </a:lnTo>
                <a:lnTo>
                  <a:pt x="100" y="463"/>
                </a:lnTo>
                <a:lnTo>
                  <a:pt x="96" y="456"/>
                </a:lnTo>
                <a:lnTo>
                  <a:pt x="92" y="448"/>
                </a:lnTo>
                <a:lnTo>
                  <a:pt x="89" y="440"/>
                </a:lnTo>
                <a:lnTo>
                  <a:pt x="85" y="433"/>
                </a:lnTo>
                <a:lnTo>
                  <a:pt x="84" y="425"/>
                </a:lnTo>
                <a:lnTo>
                  <a:pt x="83" y="415"/>
                </a:lnTo>
                <a:lnTo>
                  <a:pt x="82" y="406"/>
                </a:lnTo>
                <a:lnTo>
                  <a:pt x="82" y="406"/>
                </a:lnTo>
                <a:close/>
                <a:moveTo>
                  <a:pt x="277" y="481"/>
                </a:moveTo>
                <a:lnTo>
                  <a:pt x="277" y="328"/>
                </a:lnTo>
                <a:lnTo>
                  <a:pt x="277" y="328"/>
                </a:lnTo>
                <a:lnTo>
                  <a:pt x="277" y="325"/>
                </a:lnTo>
                <a:lnTo>
                  <a:pt x="279" y="321"/>
                </a:lnTo>
                <a:lnTo>
                  <a:pt x="282" y="319"/>
                </a:lnTo>
                <a:lnTo>
                  <a:pt x="286" y="319"/>
                </a:lnTo>
                <a:lnTo>
                  <a:pt x="314" y="319"/>
                </a:lnTo>
                <a:lnTo>
                  <a:pt x="314" y="319"/>
                </a:lnTo>
                <a:lnTo>
                  <a:pt x="317" y="319"/>
                </a:lnTo>
                <a:lnTo>
                  <a:pt x="320" y="321"/>
                </a:lnTo>
                <a:lnTo>
                  <a:pt x="323" y="325"/>
                </a:lnTo>
                <a:lnTo>
                  <a:pt x="323" y="328"/>
                </a:lnTo>
                <a:lnTo>
                  <a:pt x="323" y="481"/>
                </a:lnTo>
                <a:lnTo>
                  <a:pt x="323" y="481"/>
                </a:lnTo>
                <a:lnTo>
                  <a:pt x="323" y="484"/>
                </a:lnTo>
                <a:lnTo>
                  <a:pt x="320" y="488"/>
                </a:lnTo>
                <a:lnTo>
                  <a:pt x="317" y="490"/>
                </a:lnTo>
                <a:lnTo>
                  <a:pt x="314" y="490"/>
                </a:lnTo>
                <a:lnTo>
                  <a:pt x="286" y="490"/>
                </a:lnTo>
                <a:lnTo>
                  <a:pt x="286" y="490"/>
                </a:lnTo>
                <a:lnTo>
                  <a:pt x="282" y="490"/>
                </a:lnTo>
                <a:lnTo>
                  <a:pt x="279" y="488"/>
                </a:lnTo>
                <a:lnTo>
                  <a:pt x="277" y="484"/>
                </a:lnTo>
                <a:lnTo>
                  <a:pt x="277" y="481"/>
                </a:lnTo>
                <a:lnTo>
                  <a:pt x="277" y="481"/>
                </a:lnTo>
                <a:close/>
                <a:moveTo>
                  <a:pt x="461" y="449"/>
                </a:moveTo>
                <a:lnTo>
                  <a:pt x="461" y="449"/>
                </a:lnTo>
                <a:lnTo>
                  <a:pt x="464" y="449"/>
                </a:lnTo>
                <a:lnTo>
                  <a:pt x="468" y="452"/>
                </a:lnTo>
                <a:lnTo>
                  <a:pt x="469" y="455"/>
                </a:lnTo>
                <a:lnTo>
                  <a:pt x="470" y="458"/>
                </a:lnTo>
                <a:lnTo>
                  <a:pt x="470" y="481"/>
                </a:lnTo>
                <a:lnTo>
                  <a:pt x="470" y="481"/>
                </a:lnTo>
                <a:lnTo>
                  <a:pt x="469" y="484"/>
                </a:lnTo>
                <a:lnTo>
                  <a:pt x="468" y="488"/>
                </a:lnTo>
                <a:lnTo>
                  <a:pt x="464" y="490"/>
                </a:lnTo>
                <a:lnTo>
                  <a:pt x="461" y="490"/>
                </a:lnTo>
                <a:lnTo>
                  <a:pt x="368" y="490"/>
                </a:lnTo>
                <a:lnTo>
                  <a:pt x="368" y="490"/>
                </a:lnTo>
                <a:lnTo>
                  <a:pt x="364" y="490"/>
                </a:lnTo>
                <a:lnTo>
                  <a:pt x="361" y="488"/>
                </a:lnTo>
                <a:lnTo>
                  <a:pt x="360" y="484"/>
                </a:lnTo>
                <a:lnTo>
                  <a:pt x="359" y="481"/>
                </a:lnTo>
                <a:lnTo>
                  <a:pt x="359" y="328"/>
                </a:lnTo>
                <a:lnTo>
                  <a:pt x="359" y="328"/>
                </a:lnTo>
                <a:lnTo>
                  <a:pt x="360" y="325"/>
                </a:lnTo>
                <a:lnTo>
                  <a:pt x="361" y="321"/>
                </a:lnTo>
                <a:lnTo>
                  <a:pt x="364" y="319"/>
                </a:lnTo>
                <a:lnTo>
                  <a:pt x="368" y="319"/>
                </a:lnTo>
                <a:lnTo>
                  <a:pt x="397" y="319"/>
                </a:lnTo>
                <a:lnTo>
                  <a:pt x="397" y="319"/>
                </a:lnTo>
                <a:lnTo>
                  <a:pt x="400" y="319"/>
                </a:lnTo>
                <a:lnTo>
                  <a:pt x="402" y="321"/>
                </a:lnTo>
                <a:lnTo>
                  <a:pt x="405" y="325"/>
                </a:lnTo>
                <a:lnTo>
                  <a:pt x="406" y="328"/>
                </a:lnTo>
                <a:lnTo>
                  <a:pt x="406" y="449"/>
                </a:lnTo>
                <a:lnTo>
                  <a:pt x="461" y="44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8" name="Group 127">
            <a:extLst>
              <a:ext uri="{FF2B5EF4-FFF2-40B4-BE49-F238E27FC236}">
                <a16:creationId xmlns:a16="http://schemas.microsoft.com/office/drawing/2014/main" id="{B6622F2F-7304-4557-BC5A-0BFBFF274284}"/>
              </a:ext>
            </a:extLst>
          </p:cNvPr>
          <p:cNvGrpSpPr/>
          <p:nvPr/>
        </p:nvGrpSpPr>
        <p:grpSpPr>
          <a:xfrm>
            <a:off x="4789472" y="6452948"/>
            <a:ext cx="115256" cy="141289"/>
            <a:chOff x="784198" y="4187830"/>
            <a:chExt cx="115256" cy="141289"/>
          </a:xfrm>
        </p:grpSpPr>
        <p:sp>
          <p:nvSpPr>
            <p:cNvPr id="129" name="Freeform 289">
              <a:extLst>
                <a:ext uri="{FF2B5EF4-FFF2-40B4-BE49-F238E27FC236}">
                  <a16:creationId xmlns:a16="http://schemas.microsoft.com/office/drawing/2014/main" id="{D7D59BF4-4D87-4E59-93B3-59FCD16C24D7}"/>
                </a:ext>
              </a:extLst>
            </p:cNvPr>
            <p:cNvSpPr>
              <a:spLocks/>
            </p:cNvSpPr>
            <p:nvPr/>
          </p:nvSpPr>
          <p:spPr bwMode="auto">
            <a:xfrm>
              <a:off x="839967" y="4221293"/>
              <a:ext cx="59487" cy="87111"/>
            </a:xfrm>
            <a:custGeom>
              <a:avLst/>
              <a:gdLst>
                <a:gd name="T0" fmla="*/ 889 w 1446"/>
                <a:gd name="T1" fmla="*/ 126 h 2133"/>
                <a:gd name="T2" fmla="*/ 1069 w 1446"/>
                <a:gd name="T3" fmla="*/ 331 h 2133"/>
                <a:gd name="T4" fmla="*/ 1083 w 1446"/>
                <a:gd name="T5" fmla="*/ 447 h 2133"/>
                <a:gd name="T6" fmla="*/ 1023 w 1446"/>
                <a:gd name="T7" fmla="*/ 579 h 2133"/>
                <a:gd name="T8" fmla="*/ 941 w 1446"/>
                <a:gd name="T9" fmla="*/ 735 h 2133"/>
                <a:gd name="T10" fmla="*/ 846 w 1446"/>
                <a:gd name="T11" fmla="*/ 879 h 2133"/>
                <a:gd name="T12" fmla="*/ 806 w 1446"/>
                <a:gd name="T13" fmla="*/ 950 h 2133"/>
                <a:gd name="T14" fmla="*/ 837 w 1446"/>
                <a:gd name="T15" fmla="*/ 996 h 2133"/>
                <a:gd name="T16" fmla="*/ 892 w 1446"/>
                <a:gd name="T17" fmla="*/ 994 h 2133"/>
                <a:gd name="T18" fmla="*/ 995 w 1446"/>
                <a:gd name="T19" fmla="*/ 862 h 2133"/>
                <a:gd name="T20" fmla="*/ 1101 w 1446"/>
                <a:gd name="T21" fmla="*/ 673 h 2133"/>
                <a:gd name="T22" fmla="*/ 1178 w 1446"/>
                <a:gd name="T23" fmla="*/ 507 h 2133"/>
                <a:gd name="T24" fmla="*/ 1295 w 1446"/>
                <a:gd name="T25" fmla="*/ 768 h 2133"/>
                <a:gd name="T26" fmla="*/ 1373 w 1446"/>
                <a:gd name="T27" fmla="*/ 1017 h 2133"/>
                <a:gd name="T28" fmla="*/ 1419 w 1446"/>
                <a:gd name="T29" fmla="*/ 1225 h 2133"/>
                <a:gd name="T30" fmla="*/ 1440 w 1446"/>
                <a:gd name="T31" fmla="*/ 1370 h 2133"/>
                <a:gd name="T32" fmla="*/ 1446 w 1446"/>
                <a:gd name="T33" fmla="*/ 1423 h 2133"/>
                <a:gd name="T34" fmla="*/ 1426 w 1446"/>
                <a:gd name="T35" fmla="*/ 1660 h 2133"/>
                <a:gd name="T36" fmla="*/ 1360 w 1446"/>
                <a:gd name="T37" fmla="*/ 1838 h 2133"/>
                <a:gd name="T38" fmla="*/ 1261 w 1446"/>
                <a:gd name="T39" fmla="*/ 1965 h 2133"/>
                <a:gd name="T40" fmla="*/ 1140 w 1446"/>
                <a:gd name="T41" fmla="*/ 2050 h 2133"/>
                <a:gd name="T42" fmla="*/ 1015 w 1446"/>
                <a:gd name="T43" fmla="*/ 2100 h 2133"/>
                <a:gd name="T44" fmla="*/ 898 w 1446"/>
                <a:gd name="T45" fmla="*/ 2124 h 2133"/>
                <a:gd name="T46" fmla="*/ 800 w 1446"/>
                <a:gd name="T47" fmla="*/ 2133 h 2133"/>
                <a:gd name="T48" fmla="*/ 738 w 1446"/>
                <a:gd name="T49" fmla="*/ 2132 h 2133"/>
                <a:gd name="T50" fmla="*/ 721 w 1446"/>
                <a:gd name="T51" fmla="*/ 2131 h 2133"/>
                <a:gd name="T52" fmla="*/ 681 w 1446"/>
                <a:gd name="T53" fmla="*/ 2133 h 2133"/>
                <a:gd name="T54" fmla="*/ 600 w 1446"/>
                <a:gd name="T55" fmla="*/ 2131 h 2133"/>
                <a:gd name="T56" fmla="*/ 492 w 1446"/>
                <a:gd name="T57" fmla="*/ 2115 h 2133"/>
                <a:gd name="T58" fmla="*/ 367 w 1446"/>
                <a:gd name="T59" fmla="*/ 2078 h 2133"/>
                <a:gd name="T60" fmla="*/ 244 w 1446"/>
                <a:gd name="T61" fmla="*/ 2012 h 2133"/>
                <a:gd name="T62" fmla="*/ 132 w 1446"/>
                <a:gd name="T63" fmla="*/ 1907 h 2133"/>
                <a:gd name="T64" fmla="*/ 47 w 1446"/>
                <a:gd name="T65" fmla="*/ 1756 h 2133"/>
                <a:gd name="T66" fmla="*/ 3 w 1446"/>
                <a:gd name="T67" fmla="*/ 1550 h 2133"/>
                <a:gd name="T68" fmla="*/ 1 w 1446"/>
                <a:gd name="T69" fmla="*/ 1410 h 2133"/>
                <a:gd name="T70" fmla="*/ 12 w 1446"/>
                <a:gd name="T71" fmla="*/ 1314 h 2133"/>
                <a:gd name="T72" fmla="*/ 43 w 1446"/>
                <a:gd name="T73" fmla="*/ 1145 h 2133"/>
                <a:gd name="T74" fmla="*/ 108 w 1446"/>
                <a:gd name="T75" fmla="*/ 1129 h 2133"/>
                <a:gd name="T76" fmla="*/ 217 w 1446"/>
                <a:gd name="T77" fmla="*/ 1322 h 2133"/>
                <a:gd name="T78" fmla="*/ 367 w 1446"/>
                <a:gd name="T79" fmla="*/ 1482 h 2133"/>
                <a:gd name="T80" fmla="*/ 426 w 1446"/>
                <a:gd name="T81" fmla="*/ 1487 h 2133"/>
                <a:gd name="T82" fmla="*/ 456 w 1446"/>
                <a:gd name="T83" fmla="*/ 1443 h 2133"/>
                <a:gd name="T84" fmla="*/ 434 w 1446"/>
                <a:gd name="T85" fmla="*/ 1392 h 2133"/>
                <a:gd name="T86" fmla="*/ 317 w 1446"/>
                <a:gd name="T87" fmla="*/ 1269 h 2133"/>
                <a:gd name="T88" fmla="*/ 225 w 1446"/>
                <a:gd name="T89" fmla="*/ 1115 h 2133"/>
                <a:gd name="T90" fmla="*/ 160 w 1446"/>
                <a:gd name="T91" fmla="*/ 968 h 2133"/>
                <a:gd name="T92" fmla="*/ 123 w 1446"/>
                <a:gd name="T93" fmla="*/ 870 h 2133"/>
                <a:gd name="T94" fmla="*/ 190 w 1446"/>
                <a:gd name="T95" fmla="*/ 670 h 2133"/>
                <a:gd name="T96" fmla="*/ 319 w 1446"/>
                <a:gd name="T97" fmla="*/ 418 h 2133"/>
                <a:gd name="T98" fmla="*/ 494 w 1446"/>
                <a:gd name="T99" fmla="*/ 188 h 2133"/>
                <a:gd name="T100" fmla="*/ 723 w 1446"/>
                <a:gd name="T101" fmla="*/ 0 h 2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6" h="2133">
                  <a:moveTo>
                    <a:pt x="723" y="0"/>
                  </a:moveTo>
                  <a:lnTo>
                    <a:pt x="781" y="39"/>
                  </a:lnTo>
                  <a:lnTo>
                    <a:pt x="837" y="81"/>
                  </a:lnTo>
                  <a:lnTo>
                    <a:pt x="889" y="126"/>
                  </a:lnTo>
                  <a:lnTo>
                    <a:pt x="938" y="174"/>
                  </a:lnTo>
                  <a:lnTo>
                    <a:pt x="985" y="224"/>
                  </a:lnTo>
                  <a:lnTo>
                    <a:pt x="1028" y="277"/>
                  </a:lnTo>
                  <a:lnTo>
                    <a:pt x="1069" y="331"/>
                  </a:lnTo>
                  <a:lnTo>
                    <a:pt x="1107" y="388"/>
                  </a:lnTo>
                  <a:lnTo>
                    <a:pt x="1102" y="403"/>
                  </a:lnTo>
                  <a:lnTo>
                    <a:pt x="1093" y="423"/>
                  </a:lnTo>
                  <a:lnTo>
                    <a:pt x="1083" y="447"/>
                  </a:lnTo>
                  <a:lnTo>
                    <a:pt x="1070" y="476"/>
                  </a:lnTo>
                  <a:lnTo>
                    <a:pt x="1056" y="507"/>
                  </a:lnTo>
                  <a:lnTo>
                    <a:pt x="1040" y="542"/>
                  </a:lnTo>
                  <a:lnTo>
                    <a:pt x="1023" y="579"/>
                  </a:lnTo>
                  <a:lnTo>
                    <a:pt x="1004" y="616"/>
                  </a:lnTo>
                  <a:lnTo>
                    <a:pt x="984" y="656"/>
                  </a:lnTo>
                  <a:lnTo>
                    <a:pt x="963" y="696"/>
                  </a:lnTo>
                  <a:lnTo>
                    <a:pt x="941" y="735"/>
                  </a:lnTo>
                  <a:lnTo>
                    <a:pt x="918" y="774"/>
                  </a:lnTo>
                  <a:lnTo>
                    <a:pt x="894" y="811"/>
                  </a:lnTo>
                  <a:lnTo>
                    <a:pt x="870" y="847"/>
                  </a:lnTo>
                  <a:lnTo>
                    <a:pt x="846" y="879"/>
                  </a:lnTo>
                  <a:lnTo>
                    <a:pt x="821" y="910"/>
                  </a:lnTo>
                  <a:lnTo>
                    <a:pt x="813" y="922"/>
                  </a:lnTo>
                  <a:lnTo>
                    <a:pt x="808" y="936"/>
                  </a:lnTo>
                  <a:lnTo>
                    <a:pt x="806" y="950"/>
                  </a:lnTo>
                  <a:lnTo>
                    <a:pt x="810" y="964"/>
                  </a:lnTo>
                  <a:lnTo>
                    <a:pt x="816" y="977"/>
                  </a:lnTo>
                  <a:lnTo>
                    <a:pt x="825" y="988"/>
                  </a:lnTo>
                  <a:lnTo>
                    <a:pt x="837" y="996"/>
                  </a:lnTo>
                  <a:lnTo>
                    <a:pt x="849" y="1001"/>
                  </a:lnTo>
                  <a:lnTo>
                    <a:pt x="863" y="1002"/>
                  </a:lnTo>
                  <a:lnTo>
                    <a:pt x="878" y="1000"/>
                  </a:lnTo>
                  <a:lnTo>
                    <a:pt x="892" y="994"/>
                  </a:lnTo>
                  <a:lnTo>
                    <a:pt x="904" y="984"/>
                  </a:lnTo>
                  <a:lnTo>
                    <a:pt x="935" y="946"/>
                  </a:lnTo>
                  <a:lnTo>
                    <a:pt x="966" y="906"/>
                  </a:lnTo>
                  <a:lnTo>
                    <a:pt x="995" y="862"/>
                  </a:lnTo>
                  <a:lnTo>
                    <a:pt x="1023" y="815"/>
                  </a:lnTo>
                  <a:lnTo>
                    <a:pt x="1050" y="768"/>
                  </a:lnTo>
                  <a:lnTo>
                    <a:pt x="1076" y="720"/>
                  </a:lnTo>
                  <a:lnTo>
                    <a:pt x="1101" y="673"/>
                  </a:lnTo>
                  <a:lnTo>
                    <a:pt x="1124" y="628"/>
                  </a:lnTo>
                  <a:lnTo>
                    <a:pt x="1143" y="584"/>
                  </a:lnTo>
                  <a:lnTo>
                    <a:pt x="1162" y="544"/>
                  </a:lnTo>
                  <a:lnTo>
                    <a:pt x="1178" y="507"/>
                  </a:lnTo>
                  <a:lnTo>
                    <a:pt x="1211" y="572"/>
                  </a:lnTo>
                  <a:lnTo>
                    <a:pt x="1242" y="638"/>
                  </a:lnTo>
                  <a:lnTo>
                    <a:pt x="1270" y="703"/>
                  </a:lnTo>
                  <a:lnTo>
                    <a:pt x="1295" y="768"/>
                  </a:lnTo>
                  <a:lnTo>
                    <a:pt x="1317" y="832"/>
                  </a:lnTo>
                  <a:lnTo>
                    <a:pt x="1338" y="895"/>
                  </a:lnTo>
                  <a:lnTo>
                    <a:pt x="1356" y="957"/>
                  </a:lnTo>
                  <a:lnTo>
                    <a:pt x="1373" y="1017"/>
                  </a:lnTo>
                  <a:lnTo>
                    <a:pt x="1386" y="1073"/>
                  </a:lnTo>
                  <a:lnTo>
                    <a:pt x="1399" y="1127"/>
                  </a:lnTo>
                  <a:lnTo>
                    <a:pt x="1409" y="1178"/>
                  </a:lnTo>
                  <a:lnTo>
                    <a:pt x="1419" y="1225"/>
                  </a:lnTo>
                  <a:lnTo>
                    <a:pt x="1426" y="1268"/>
                  </a:lnTo>
                  <a:lnTo>
                    <a:pt x="1431" y="1307"/>
                  </a:lnTo>
                  <a:lnTo>
                    <a:pt x="1436" y="1340"/>
                  </a:lnTo>
                  <a:lnTo>
                    <a:pt x="1440" y="1370"/>
                  </a:lnTo>
                  <a:lnTo>
                    <a:pt x="1443" y="1393"/>
                  </a:lnTo>
                  <a:lnTo>
                    <a:pt x="1445" y="1410"/>
                  </a:lnTo>
                  <a:lnTo>
                    <a:pt x="1446" y="1420"/>
                  </a:lnTo>
                  <a:lnTo>
                    <a:pt x="1446" y="1423"/>
                  </a:lnTo>
                  <a:lnTo>
                    <a:pt x="1446" y="1488"/>
                  </a:lnTo>
                  <a:lnTo>
                    <a:pt x="1443" y="1550"/>
                  </a:lnTo>
                  <a:lnTo>
                    <a:pt x="1436" y="1607"/>
                  </a:lnTo>
                  <a:lnTo>
                    <a:pt x="1426" y="1660"/>
                  </a:lnTo>
                  <a:lnTo>
                    <a:pt x="1413" y="1710"/>
                  </a:lnTo>
                  <a:lnTo>
                    <a:pt x="1398" y="1756"/>
                  </a:lnTo>
                  <a:lnTo>
                    <a:pt x="1380" y="1799"/>
                  </a:lnTo>
                  <a:lnTo>
                    <a:pt x="1360" y="1838"/>
                  </a:lnTo>
                  <a:lnTo>
                    <a:pt x="1337" y="1875"/>
                  </a:lnTo>
                  <a:lnTo>
                    <a:pt x="1313" y="1907"/>
                  </a:lnTo>
                  <a:lnTo>
                    <a:pt x="1288" y="1938"/>
                  </a:lnTo>
                  <a:lnTo>
                    <a:pt x="1261" y="1965"/>
                  </a:lnTo>
                  <a:lnTo>
                    <a:pt x="1231" y="1990"/>
                  </a:lnTo>
                  <a:lnTo>
                    <a:pt x="1202" y="2012"/>
                  </a:lnTo>
                  <a:lnTo>
                    <a:pt x="1172" y="2032"/>
                  </a:lnTo>
                  <a:lnTo>
                    <a:pt x="1140" y="2050"/>
                  </a:lnTo>
                  <a:lnTo>
                    <a:pt x="1109" y="2065"/>
                  </a:lnTo>
                  <a:lnTo>
                    <a:pt x="1077" y="2078"/>
                  </a:lnTo>
                  <a:lnTo>
                    <a:pt x="1046" y="2090"/>
                  </a:lnTo>
                  <a:lnTo>
                    <a:pt x="1015" y="2100"/>
                  </a:lnTo>
                  <a:lnTo>
                    <a:pt x="984" y="2109"/>
                  </a:lnTo>
                  <a:lnTo>
                    <a:pt x="954" y="2115"/>
                  </a:lnTo>
                  <a:lnTo>
                    <a:pt x="925" y="2120"/>
                  </a:lnTo>
                  <a:lnTo>
                    <a:pt x="898" y="2124"/>
                  </a:lnTo>
                  <a:lnTo>
                    <a:pt x="870" y="2127"/>
                  </a:lnTo>
                  <a:lnTo>
                    <a:pt x="845" y="2131"/>
                  </a:lnTo>
                  <a:lnTo>
                    <a:pt x="822" y="2132"/>
                  </a:lnTo>
                  <a:lnTo>
                    <a:pt x="800" y="2133"/>
                  </a:lnTo>
                  <a:lnTo>
                    <a:pt x="781" y="2133"/>
                  </a:lnTo>
                  <a:lnTo>
                    <a:pt x="764" y="2133"/>
                  </a:lnTo>
                  <a:lnTo>
                    <a:pt x="750" y="2132"/>
                  </a:lnTo>
                  <a:lnTo>
                    <a:pt x="738" y="2132"/>
                  </a:lnTo>
                  <a:lnTo>
                    <a:pt x="730" y="2131"/>
                  </a:lnTo>
                  <a:lnTo>
                    <a:pt x="725" y="2131"/>
                  </a:lnTo>
                  <a:lnTo>
                    <a:pt x="723" y="2131"/>
                  </a:lnTo>
                  <a:lnTo>
                    <a:pt x="721" y="2131"/>
                  </a:lnTo>
                  <a:lnTo>
                    <a:pt x="715" y="2131"/>
                  </a:lnTo>
                  <a:lnTo>
                    <a:pt x="707" y="2132"/>
                  </a:lnTo>
                  <a:lnTo>
                    <a:pt x="696" y="2132"/>
                  </a:lnTo>
                  <a:lnTo>
                    <a:pt x="681" y="2133"/>
                  </a:lnTo>
                  <a:lnTo>
                    <a:pt x="664" y="2133"/>
                  </a:lnTo>
                  <a:lnTo>
                    <a:pt x="645" y="2133"/>
                  </a:lnTo>
                  <a:lnTo>
                    <a:pt x="623" y="2132"/>
                  </a:lnTo>
                  <a:lnTo>
                    <a:pt x="600" y="2131"/>
                  </a:lnTo>
                  <a:lnTo>
                    <a:pt x="575" y="2127"/>
                  </a:lnTo>
                  <a:lnTo>
                    <a:pt x="548" y="2124"/>
                  </a:lnTo>
                  <a:lnTo>
                    <a:pt x="520" y="2120"/>
                  </a:lnTo>
                  <a:lnTo>
                    <a:pt x="492" y="2115"/>
                  </a:lnTo>
                  <a:lnTo>
                    <a:pt x="461" y="2109"/>
                  </a:lnTo>
                  <a:lnTo>
                    <a:pt x="430" y="2100"/>
                  </a:lnTo>
                  <a:lnTo>
                    <a:pt x="399" y="2090"/>
                  </a:lnTo>
                  <a:lnTo>
                    <a:pt x="367" y="2078"/>
                  </a:lnTo>
                  <a:lnTo>
                    <a:pt x="336" y="2065"/>
                  </a:lnTo>
                  <a:lnTo>
                    <a:pt x="304" y="2050"/>
                  </a:lnTo>
                  <a:lnTo>
                    <a:pt x="274" y="2032"/>
                  </a:lnTo>
                  <a:lnTo>
                    <a:pt x="244" y="2012"/>
                  </a:lnTo>
                  <a:lnTo>
                    <a:pt x="214" y="1990"/>
                  </a:lnTo>
                  <a:lnTo>
                    <a:pt x="185" y="1965"/>
                  </a:lnTo>
                  <a:lnTo>
                    <a:pt x="158" y="1938"/>
                  </a:lnTo>
                  <a:lnTo>
                    <a:pt x="132" y="1907"/>
                  </a:lnTo>
                  <a:lnTo>
                    <a:pt x="108" y="1875"/>
                  </a:lnTo>
                  <a:lnTo>
                    <a:pt x="86" y="1838"/>
                  </a:lnTo>
                  <a:lnTo>
                    <a:pt x="66" y="1799"/>
                  </a:lnTo>
                  <a:lnTo>
                    <a:pt x="47" y="1756"/>
                  </a:lnTo>
                  <a:lnTo>
                    <a:pt x="32" y="1710"/>
                  </a:lnTo>
                  <a:lnTo>
                    <a:pt x="20" y="1660"/>
                  </a:lnTo>
                  <a:lnTo>
                    <a:pt x="9" y="1607"/>
                  </a:lnTo>
                  <a:lnTo>
                    <a:pt x="3" y="1550"/>
                  </a:lnTo>
                  <a:lnTo>
                    <a:pt x="0" y="1488"/>
                  </a:lnTo>
                  <a:lnTo>
                    <a:pt x="0" y="1423"/>
                  </a:lnTo>
                  <a:lnTo>
                    <a:pt x="0" y="1420"/>
                  </a:lnTo>
                  <a:lnTo>
                    <a:pt x="1" y="1410"/>
                  </a:lnTo>
                  <a:lnTo>
                    <a:pt x="3" y="1394"/>
                  </a:lnTo>
                  <a:lnTo>
                    <a:pt x="5" y="1373"/>
                  </a:lnTo>
                  <a:lnTo>
                    <a:pt x="8" y="1346"/>
                  </a:lnTo>
                  <a:lnTo>
                    <a:pt x="12" y="1314"/>
                  </a:lnTo>
                  <a:lnTo>
                    <a:pt x="19" y="1278"/>
                  </a:lnTo>
                  <a:lnTo>
                    <a:pt x="25" y="1237"/>
                  </a:lnTo>
                  <a:lnTo>
                    <a:pt x="33" y="1192"/>
                  </a:lnTo>
                  <a:lnTo>
                    <a:pt x="43" y="1145"/>
                  </a:lnTo>
                  <a:lnTo>
                    <a:pt x="54" y="1093"/>
                  </a:lnTo>
                  <a:lnTo>
                    <a:pt x="68" y="1039"/>
                  </a:lnTo>
                  <a:lnTo>
                    <a:pt x="86" y="1083"/>
                  </a:lnTo>
                  <a:lnTo>
                    <a:pt x="108" y="1129"/>
                  </a:lnTo>
                  <a:lnTo>
                    <a:pt x="132" y="1177"/>
                  </a:lnTo>
                  <a:lnTo>
                    <a:pt x="158" y="1225"/>
                  </a:lnTo>
                  <a:lnTo>
                    <a:pt x="186" y="1274"/>
                  </a:lnTo>
                  <a:lnTo>
                    <a:pt x="217" y="1322"/>
                  </a:lnTo>
                  <a:lnTo>
                    <a:pt x="252" y="1367"/>
                  </a:lnTo>
                  <a:lnTo>
                    <a:pt x="287" y="1410"/>
                  </a:lnTo>
                  <a:lnTo>
                    <a:pt x="326" y="1448"/>
                  </a:lnTo>
                  <a:lnTo>
                    <a:pt x="367" y="1482"/>
                  </a:lnTo>
                  <a:lnTo>
                    <a:pt x="384" y="1490"/>
                  </a:lnTo>
                  <a:lnTo>
                    <a:pt x="400" y="1493"/>
                  </a:lnTo>
                  <a:lnTo>
                    <a:pt x="413" y="1491"/>
                  </a:lnTo>
                  <a:lnTo>
                    <a:pt x="426" y="1487"/>
                  </a:lnTo>
                  <a:lnTo>
                    <a:pt x="436" y="1480"/>
                  </a:lnTo>
                  <a:lnTo>
                    <a:pt x="445" y="1470"/>
                  </a:lnTo>
                  <a:lnTo>
                    <a:pt x="453" y="1457"/>
                  </a:lnTo>
                  <a:lnTo>
                    <a:pt x="456" y="1443"/>
                  </a:lnTo>
                  <a:lnTo>
                    <a:pt x="456" y="1429"/>
                  </a:lnTo>
                  <a:lnTo>
                    <a:pt x="452" y="1415"/>
                  </a:lnTo>
                  <a:lnTo>
                    <a:pt x="444" y="1402"/>
                  </a:lnTo>
                  <a:lnTo>
                    <a:pt x="434" y="1392"/>
                  </a:lnTo>
                  <a:lnTo>
                    <a:pt x="403" y="1367"/>
                  </a:lnTo>
                  <a:lnTo>
                    <a:pt x="372" y="1337"/>
                  </a:lnTo>
                  <a:lnTo>
                    <a:pt x="344" y="1304"/>
                  </a:lnTo>
                  <a:lnTo>
                    <a:pt x="317" y="1269"/>
                  </a:lnTo>
                  <a:lnTo>
                    <a:pt x="292" y="1232"/>
                  </a:lnTo>
                  <a:lnTo>
                    <a:pt x="268" y="1194"/>
                  </a:lnTo>
                  <a:lnTo>
                    <a:pt x="246" y="1154"/>
                  </a:lnTo>
                  <a:lnTo>
                    <a:pt x="225" y="1115"/>
                  </a:lnTo>
                  <a:lnTo>
                    <a:pt x="206" y="1076"/>
                  </a:lnTo>
                  <a:lnTo>
                    <a:pt x="188" y="1039"/>
                  </a:lnTo>
                  <a:lnTo>
                    <a:pt x="173" y="1003"/>
                  </a:lnTo>
                  <a:lnTo>
                    <a:pt x="160" y="968"/>
                  </a:lnTo>
                  <a:lnTo>
                    <a:pt x="147" y="938"/>
                  </a:lnTo>
                  <a:lnTo>
                    <a:pt x="138" y="911"/>
                  </a:lnTo>
                  <a:lnTo>
                    <a:pt x="129" y="888"/>
                  </a:lnTo>
                  <a:lnTo>
                    <a:pt x="123" y="870"/>
                  </a:lnTo>
                  <a:lnTo>
                    <a:pt x="119" y="857"/>
                  </a:lnTo>
                  <a:lnTo>
                    <a:pt x="141" y="796"/>
                  </a:lnTo>
                  <a:lnTo>
                    <a:pt x="164" y="733"/>
                  </a:lnTo>
                  <a:lnTo>
                    <a:pt x="190" y="670"/>
                  </a:lnTo>
                  <a:lnTo>
                    <a:pt x="217" y="606"/>
                  </a:lnTo>
                  <a:lnTo>
                    <a:pt x="249" y="543"/>
                  </a:lnTo>
                  <a:lnTo>
                    <a:pt x="282" y="480"/>
                  </a:lnTo>
                  <a:lnTo>
                    <a:pt x="319" y="418"/>
                  </a:lnTo>
                  <a:lnTo>
                    <a:pt x="358" y="359"/>
                  </a:lnTo>
                  <a:lnTo>
                    <a:pt x="399" y="299"/>
                  </a:lnTo>
                  <a:lnTo>
                    <a:pt x="445" y="242"/>
                  </a:lnTo>
                  <a:lnTo>
                    <a:pt x="494" y="188"/>
                  </a:lnTo>
                  <a:lnTo>
                    <a:pt x="546" y="136"/>
                  </a:lnTo>
                  <a:lnTo>
                    <a:pt x="601" y="87"/>
                  </a:lnTo>
                  <a:lnTo>
                    <a:pt x="660" y="42"/>
                  </a:lnTo>
                  <a:lnTo>
                    <a:pt x="72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30" name="Freeform 290">
              <a:extLst>
                <a:ext uri="{FF2B5EF4-FFF2-40B4-BE49-F238E27FC236}">
                  <a16:creationId xmlns:a16="http://schemas.microsoft.com/office/drawing/2014/main" id="{96D35C2F-0333-4F01-9374-5C65FEE4EB0C}"/>
                </a:ext>
              </a:extLst>
            </p:cNvPr>
            <p:cNvSpPr>
              <a:spLocks/>
            </p:cNvSpPr>
            <p:nvPr/>
          </p:nvSpPr>
          <p:spPr bwMode="auto">
            <a:xfrm>
              <a:off x="784198" y="4187830"/>
              <a:ext cx="69579" cy="114200"/>
            </a:xfrm>
            <a:custGeom>
              <a:avLst/>
              <a:gdLst>
                <a:gd name="T0" fmla="*/ 1151 w 1700"/>
                <a:gd name="T1" fmla="*/ 154 h 2789"/>
                <a:gd name="T2" fmla="*/ 1376 w 1700"/>
                <a:gd name="T3" fmla="*/ 401 h 2789"/>
                <a:gd name="T4" fmla="*/ 1449 w 1700"/>
                <a:gd name="T5" fmla="*/ 599 h 2789"/>
                <a:gd name="T6" fmla="*/ 1385 w 1700"/>
                <a:gd name="T7" fmla="*/ 771 h 2789"/>
                <a:gd name="T8" fmla="*/ 1292 w 1700"/>
                <a:gd name="T9" fmla="*/ 968 h 2789"/>
                <a:gd name="T10" fmla="*/ 1171 w 1700"/>
                <a:gd name="T11" fmla="*/ 1144 h 2789"/>
                <a:gd name="T12" fmla="*/ 1159 w 1700"/>
                <a:gd name="T13" fmla="*/ 1199 h 2789"/>
                <a:gd name="T14" fmla="*/ 1199 w 1700"/>
                <a:gd name="T15" fmla="*/ 1237 h 2789"/>
                <a:gd name="T16" fmla="*/ 1255 w 1700"/>
                <a:gd name="T17" fmla="*/ 1219 h 2789"/>
                <a:gd name="T18" fmla="*/ 1400 w 1700"/>
                <a:gd name="T19" fmla="*/ 1003 h 2789"/>
                <a:gd name="T20" fmla="*/ 1507 w 1700"/>
                <a:gd name="T21" fmla="*/ 770 h 2789"/>
                <a:gd name="T22" fmla="*/ 1629 w 1700"/>
                <a:gd name="T23" fmla="*/ 845 h 2789"/>
                <a:gd name="T24" fmla="*/ 1607 w 1700"/>
                <a:gd name="T25" fmla="*/ 1152 h 2789"/>
                <a:gd name="T26" fmla="*/ 1463 w 1700"/>
                <a:gd name="T27" fmla="*/ 1426 h 2789"/>
                <a:gd name="T28" fmla="*/ 1364 w 1700"/>
                <a:gd name="T29" fmla="*/ 1698 h 2789"/>
                <a:gd name="T30" fmla="*/ 1304 w 1700"/>
                <a:gd name="T31" fmla="*/ 1939 h 2789"/>
                <a:gd name="T32" fmla="*/ 1271 w 1700"/>
                <a:gd name="T33" fmla="*/ 2121 h 2789"/>
                <a:gd name="T34" fmla="*/ 1260 w 1700"/>
                <a:gd name="T35" fmla="*/ 2220 h 2789"/>
                <a:gd name="T36" fmla="*/ 1263 w 1700"/>
                <a:gd name="T37" fmla="*/ 2376 h 2789"/>
                <a:gd name="T38" fmla="*/ 1321 w 1700"/>
                <a:gd name="T39" fmla="*/ 2625 h 2789"/>
                <a:gd name="T40" fmla="*/ 1274 w 1700"/>
                <a:gd name="T41" fmla="*/ 2759 h 2789"/>
                <a:gd name="T42" fmla="*/ 1097 w 1700"/>
                <a:gd name="T43" fmla="*/ 2785 h 2789"/>
                <a:gd name="T44" fmla="*/ 977 w 1700"/>
                <a:gd name="T45" fmla="*/ 2787 h 2789"/>
                <a:gd name="T46" fmla="*/ 944 w 1700"/>
                <a:gd name="T47" fmla="*/ 2785 h 2789"/>
                <a:gd name="T48" fmla="*/ 904 w 1700"/>
                <a:gd name="T49" fmla="*/ 2789 h 2789"/>
                <a:gd name="T50" fmla="*/ 820 w 1700"/>
                <a:gd name="T51" fmla="*/ 2787 h 2789"/>
                <a:gd name="T52" fmla="*/ 704 w 1700"/>
                <a:gd name="T53" fmla="*/ 2776 h 2789"/>
                <a:gd name="T54" fmla="*/ 568 w 1700"/>
                <a:gd name="T55" fmla="*/ 2748 h 2789"/>
                <a:gd name="T56" fmla="*/ 425 w 1700"/>
                <a:gd name="T57" fmla="*/ 2693 h 2789"/>
                <a:gd name="T58" fmla="*/ 286 w 1700"/>
                <a:gd name="T59" fmla="*/ 2606 h 2789"/>
                <a:gd name="T60" fmla="*/ 161 w 1700"/>
                <a:gd name="T61" fmla="*/ 2478 h 2789"/>
                <a:gd name="T62" fmla="*/ 66 w 1700"/>
                <a:gd name="T63" fmla="*/ 2303 h 2789"/>
                <a:gd name="T64" fmla="*/ 9 w 1700"/>
                <a:gd name="T65" fmla="*/ 2074 h 2789"/>
                <a:gd name="T66" fmla="*/ 1 w 1700"/>
                <a:gd name="T67" fmla="*/ 1858 h 2789"/>
                <a:gd name="T68" fmla="*/ 9 w 1700"/>
                <a:gd name="T69" fmla="*/ 1781 h 2789"/>
                <a:gd name="T70" fmla="*/ 33 w 1700"/>
                <a:gd name="T71" fmla="*/ 1621 h 2789"/>
                <a:gd name="T72" fmla="*/ 80 w 1700"/>
                <a:gd name="T73" fmla="*/ 1398 h 2789"/>
                <a:gd name="T74" fmla="*/ 160 w 1700"/>
                <a:gd name="T75" fmla="*/ 1601 h 2789"/>
                <a:gd name="T76" fmla="*/ 284 w 1700"/>
                <a:gd name="T77" fmla="*/ 1801 h 2789"/>
                <a:gd name="T78" fmla="*/ 424 w 1700"/>
                <a:gd name="T79" fmla="*/ 1932 h 2789"/>
                <a:gd name="T80" fmla="*/ 477 w 1700"/>
                <a:gd name="T81" fmla="*/ 1922 h 2789"/>
                <a:gd name="T82" fmla="*/ 496 w 1700"/>
                <a:gd name="T83" fmla="*/ 1871 h 2789"/>
                <a:gd name="T84" fmla="*/ 435 w 1700"/>
                <a:gd name="T85" fmla="*/ 1801 h 2789"/>
                <a:gd name="T86" fmla="*/ 306 w 1700"/>
                <a:gd name="T87" fmla="*/ 1637 h 2789"/>
                <a:gd name="T88" fmla="*/ 216 w 1700"/>
                <a:gd name="T89" fmla="*/ 1447 h 2789"/>
                <a:gd name="T90" fmla="*/ 159 w 1700"/>
                <a:gd name="T91" fmla="*/ 1275 h 2789"/>
                <a:gd name="T92" fmla="*/ 159 w 1700"/>
                <a:gd name="T93" fmla="*/ 1115 h 2789"/>
                <a:gd name="T94" fmla="*/ 270 w 1700"/>
                <a:gd name="T95" fmla="*/ 827 h 2789"/>
                <a:gd name="T96" fmla="*/ 422 w 1700"/>
                <a:gd name="T97" fmla="*/ 540 h 2789"/>
                <a:gd name="T98" fmla="*/ 622 w 1700"/>
                <a:gd name="T99" fmla="*/ 273 h 2789"/>
                <a:gd name="T100" fmla="*/ 874 w 1700"/>
                <a:gd name="T101" fmla="*/ 47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0" h="2789">
                  <a:moveTo>
                    <a:pt x="946" y="0"/>
                  </a:moveTo>
                  <a:lnTo>
                    <a:pt x="1018" y="47"/>
                  </a:lnTo>
                  <a:lnTo>
                    <a:pt x="1086" y="99"/>
                  </a:lnTo>
                  <a:lnTo>
                    <a:pt x="1151" y="154"/>
                  </a:lnTo>
                  <a:lnTo>
                    <a:pt x="1213" y="212"/>
                  </a:lnTo>
                  <a:lnTo>
                    <a:pt x="1270" y="273"/>
                  </a:lnTo>
                  <a:lnTo>
                    <a:pt x="1325" y="336"/>
                  </a:lnTo>
                  <a:lnTo>
                    <a:pt x="1376" y="401"/>
                  </a:lnTo>
                  <a:lnTo>
                    <a:pt x="1424" y="470"/>
                  </a:lnTo>
                  <a:lnTo>
                    <a:pt x="1469" y="539"/>
                  </a:lnTo>
                  <a:lnTo>
                    <a:pt x="1461" y="567"/>
                  </a:lnTo>
                  <a:lnTo>
                    <a:pt x="1449" y="599"/>
                  </a:lnTo>
                  <a:lnTo>
                    <a:pt x="1437" y="638"/>
                  </a:lnTo>
                  <a:lnTo>
                    <a:pt x="1422" y="679"/>
                  </a:lnTo>
                  <a:lnTo>
                    <a:pt x="1404" y="724"/>
                  </a:lnTo>
                  <a:lnTo>
                    <a:pt x="1385" y="771"/>
                  </a:lnTo>
                  <a:lnTo>
                    <a:pt x="1366" y="820"/>
                  </a:lnTo>
                  <a:lnTo>
                    <a:pt x="1342" y="869"/>
                  </a:lnTo>
                  <a:lnTo>
                    <a:pt x="1318" y="919"/>
                  </a:lnTo>
                  <a:lnTo>
                    <a:pt x="1292" y="968"/>
                  </a:lnTo>
                  <a:lnTo>
                    <a:pt x="1264" y="1017"/>
                  </a:lnTo>
                  <a:lnTo>
                    <a:pt x="1235" y="1062"/>
                  </a:lnTo>
                  <a:lnTo>
                    <a:pt x="1203" y="1106"/>
                  </a:lnTo>
                  <a:lnTo>
                    <a:pt x="1171" y="1144"/>
                  </a:lnTo>
                  <a:lnTo>
                    <a:pt x="1163" y="1157"/>
                  </a:lnTo>
                  <a:lnTo>
                    <a:pt x="1158" y="1171"/>
                  </a:lnTo>
                  <a:lnTo>
                    <a:pt x="1157" y="1185"/>
                  </a:lnTo>
                  <a:lnTo>
                    <a:pt x="1159" y="1199"/>
                  </a:lnTo>
                  <a:lnTo>
                    <a:pt x="1166" y="1212"/>
                  </a:lnTo>
                  <a:lnTo>
                    <a:pt x="1175" y="1224"/>
                  </a:lnTo>
                  <a:lnTo>
                    <a:pt x="1187" y="1231"/>
                  </a:lnTo>
                  <a:lnTo>
                    <a:pt x="1199" y="1237"/>
                  </a:lnTo>
                  <a:lnTo>
                    <a:pt x="1213" y="1238"/>
                  </a:lnTo>
                  <a:lnTo>
                    <a:pt x="1227" y="1236"/>
                  </a:lnTo>
                  <a:lnTo>
                    <a:pt x="1242" y="1229"/>
                  </a:lnTo>
                  <a:lnTo>
                    <a:pt x="1255" y="1219"/>
                  </a:lnTo>
                  <a:lnTo>
                    <a:pt x="1294" y="1171"/>
                  </a:lnTo>
                  <a:lnTo>
                    <a:pt x="1332" y="1117"/>
                  </a:lnTo>
                  <a:lnTo>
                    <a:pt x="1368" y="1061"/>
                  </a:lnTo>
                  <a:lnTo>
                    <a:pt x="1400" y="1003"/>
                  </a:lnTo>
                  <a:lnTo>
                    <a:pt x="1430" y="943"/>
                  </a:lnTo>
                  <a:lnTo>
                    <a:pt x="1459" y="885"/>
                  </a:lnTo>
                  <a:lnTo>
                    <a:pt x="1484" y="826"/>
                  </a:lnTo>
                  <a:lnTo>
                    <a:pt x="1507" y="770"/>
                  </a:lnTo>
                  <a:lnTo>
                    <a:pt x="1527" y="718"/>
                  </a:lnTo>
                  <a:lnTo>
                    <a:pt x="1544" y="669"/>
                  </a:lnTo>
                  <a:lnTo>
                    <a:pt x="1588" y="757"/>
                  </a:lnTo>
                  <a:lnTo>
                    <a:pt x="1629" y="845"/>
                  </a:lnTo>
                  <a:lnTo>
                    <a:pt x="1667" y="934"/>
                  </a:lnTo>
                  <a:lnTo>
                    <a:pt x="1700" y="1022"/>
                  </a:lnTo>
                  <a:lnTo>
                    <a:pt x="1652" y="1086"/>
                  </a:lnTo>
                  <a:lnTo>
                    <a:pt x="1607" y="1152"/>
                  </a:lnTo>
                  <a:lnTo>
                    <a:pt x="1566" y="1220"/>
                  </a:lnTo>
                  <a:lnTo>
                    <a:pt x="1529" y="1288"/>
                  </a:lnTo>
                  <a:lnTo>
                    <a:pt x="1494" y="1357"/>
                  </a:lnTo>
                  <a:lnTo>
                    <a:pt x="1463" y="1426"/>
                  </a:lnTo>
                  <a:lnTo>
                    <a:pt x="1435" y="1496"/>
                  </a:lnTo>
                  <a:lnTo>
                    <a:pt x="1408" y="1565"/>
                  </a:lnTo>
                  <a:lnTo>
                    <a:pt x="1385" y="1632"/>
                  </a:lnTo>
                  <a:lnTo>
                    <a:pt x="1364" y="1698"/>
                  </a:lnTo>
                  <a:lnTo>
                    <a:pt x="1346" y="1762"/>
                  </a:lnTo>
                  <a:lnTo>
                    <a:pt x="1330" y="1823"/>
                  </a:lnTo>
                  <a:lnTo>
                    <a:pt x="1315" y="1882"/>
                  </a:lnTo>
                  <a:lnTo>
                    <a:pt x="1304" y="1939"/>
                  </a:lnTo>
                  <a:lnTo>
                    <a:pt x="1293" y="1990"/>
                  </a:lnTo>
                  <a:lnTo>
                    <a:pt x="1285" y="2038"/>
                  </a:lnTo>
                  <a:lnTo>
                    <a:pt x="1278" y="2082"/>
                  </a:lnTo>
                  <a:lnTo>
                    <a:pt x="1271" y="2121"/>
                  </a:lnTo>
                  <a:lnTo>
                    <a:pt x="1267" y="2155"/>
                  </a:lnTo>
                  <a:lnTo>
                    <a:pt x="1264" y="2183"/>
                  </a:lnTo>
                  <a:lnTo>
                    <a:pt x="1262" y="2205"/>
                  </a:lnTo>
                  <a:lnTo>
                    <a:pt x="1260" y="2220"/>
                  </a:lnTo>
                  <a:lnTo>
                    <a:pt x="1260" y="2228"/>
                  </a:lnTo>
                  <a:lnTo>
                    <a:pt x="1260" y="2233"/>
                  </a:lnTo>
                  <a:lnTo>
                    <a:pt x="1259" y="2305"/>
                  </a:lnTo>
                  <a:lnTo>
                    <a:pt x="1263" y="2376"/>
                  </a:lnTo>
                  <a:lnTo>
                    <a:pt x="1271" y="2443"/>
                  </a:lnTo>
                  <a:lnTo>
                    <a:pt x="1284" y="2507"/>
                  </a:lnTo>
                  <a:lnTo>
                    <a:pt x="1300" y="2567"/>
                  </a:lnTo>
                  <a:lnTo>
                    <a:pt x="1321" y="2625"/>
                  </a:lnTo>
                  <a:lnTo>
                    <a:pt x="1346" y="2680"/>
                  </a:lnTo>
                  <a:lnTo>
                    <a:pt x="1374" y="2731"/>
                  </a:lnTo>
                  <a:lnTo>
                    <a:pt x="1324" y="2747"/>
                  </a:lnTo>
                  <a:lnTo>
                    <a:pt x="1274" y="2759"/>
                  </a:lnTo>
                  <a:lnTo>
                    <a:pt x="1226" y="2770"/>
                  </a:lnTo>
                  <a:lnTo>
                    <a:pt x="1180" y="2777"/>
                  </a:lnTo>
                  <a:lnTo>
                    <a:pt x="1136" y="2782"/>
                  </a:lnTo>
                  <a:lnTo>
                    <a:pt x="1097" y="2785"/>
                  </a:lnTo>
                  <a:lnTo>
                    <a:pt x="1060" y="2787"/>
                  </a:lnTo>
                  <a:lnTo>
                    <a:pt x="1028" y="2789"/>
                  </a:lnTo>
                  <a:lnTo>
                    <a:pt x="999" y="2789"/>
                  </a:lnTo>
                  <a:lnTo>
                    <a:pt x="977" y="2787"/>
                  </a:lnTo>
                  <a:lnTo>
                    <a:pt x="961" y="2786"/>
                  </a:lnTo>
                  <a:lnTo>
                    <a:pt x="950" y="2785"/>
                  </a:lnTo>
                  <a:lnTo>
                    <a:pt x="946" y="2785"/>
                  </a:lnTo>
                  <a:lnTo>
                    <a:pt x="944" y="2785"/>
                  </a:lnTo>
                  <a:lnTo>
                    <a:pt x="939" y="2786"/>
                  </a:lnTo>
                  <a:lnTo>
                    <a:pt x="930" y="2786"/>
                  </a:lnTo>
                  <a:lnTo>
                    <a:pt x="919" y="2787"/>
                  </a:lnTo>
                  <a:lnTo>
                    <a:pt x="904" y="2789"/>
                  </a:lnTo>
                  <a:lnTo>
                    <a:pt x="886" y="2789"/>
                  </a:lnTo>
                  <a:lnTo>
                    <a:pt x="866" y="2789"/>
                  </a:lnTo>
                  <a:lnTo>
                    <a:pt x="844" y="2789"/>
                  </a:lnTo>
                  <a:lnTo>
                    <a:pt x="820" y="2787"/>
                  </a:lnTo>
                  <a:lnTo>
                    <a:pt x="793" y="2785"/>
                  </a:lnTo>
                  <a:lnTo>
                    <a:pt x="766" y="2783"/>
                  </a:lnTo>
                  <a:lnTo>
                    <a:pt x="736" y="2780"/>
                  </a:lnTo>
                  <a:lnTo>
                    <a:pt x="704" y="2776"/>
                  </a:lnTo>
                  <a:lnTo>
                    <a:pt x="672" y="2771"/>
                  </a:lnTo>
                  <a:lnTo>
                    <a:pt x="638" y="2764"/>
                  </a:lnTo>
                  <a:lnTo>
                    <a:pt x="604" y="2756"/>
                  </a:lnTo>
                  <a:lnTo>
                    <a:pt x="568" y="2748"/>
                  </a:lnTo>
                  <a:lnTo>
                    <a:pt x="533" y="2736"/>
                  </a:lnTo>
                  <a:lnTo>
                    <a:pt x="497" y="2724"/>
                  </a:lnTo>
                  <a:lnTo>
                    <a:pt x="461" y="2709"/>
                  </a:lnTo>
                  <a:lnTo>
                    <a:pt x="425" y="2693"/>
                  </a:lnTo>
                  <a:lnTo>
                    <a:pt x="389" y="2674"/>
                  </a:lnTo>
                  <a:lnTo>
                    <a:pt x="354" y="2653"/>
                  </a:lnTo>
                  <a:lnTo>
                    <a:pt x="319" y="2631"/>
                  </a:lnTo>
                  <a:lnTo>
                    <a:pt x="286" y="2606"/>
                  </a:lnTo>
                  <a:lnTo>
                    <a:pt x="252" y="2578"/>
                  </a:lnTo>
                  <a:lnTo>
                    <a:pt x="221" y="2547"/>
                  </a:lnTo>
                  <a:lnTo>
                    <a:pt x="190" y="2515"/>
                  </a:lnTo>
                  <a:lnTo>
                    <a:pt x="161" y="2478"/>
                  </a:lnTo>
                  <a:lnTo>
                    <a:pt x="134" y="2440"/>
                  </a:lnTo>
                  <a:lnTo>
                    <a:pt x="109" y="2398"/>
                  </a:lnTo>
                  <a:lnTo>
                    <a:pt x="86" y="2353"/>
                  </a:lnTo>
                  <a:lnTo>
                    <a:pt x="66" y="2303"/>
                  </a:lnTo>
                  <a:lnTo>
                    <a:pt x="47" y="2252"/>
                  </a:lnTo>
                  <a:lnTo>
                    <a:pt x="31" y="2196"/>
                  </a:lnTo>
                  <a:lnTo>
                    <a:pt x="19" y="2137"/>
                  </a:lnTo>
                  <a:lnTo>
                    <a:pt x="9" y="2074"/>
                  </a:lnTo>
                  <a:lnTo>
                    <a:pt x="3" y="2007"/>
                  </a:lnTo>
                  <a:lnTo>
                    <a:pt x="0" y="1936"/>
                  </a:lnTo>
                  <a:lnTo>
                    <a:pt x="1" y="1861"/>
                  </a:lnTo>
                  <a:lnTo>
                    <a:pt x="1" y="1858"/>
                  </a:lnTo>
                  <a:lnTo>
                    <a:pt x="2" y="1848"/>
                  </a:lnTo>
                  <a:lnTo>
                    <a:pt x="3" y="1832"/>
                  </a:lnTo>
                  <a:lnTo>
                    <a:pt x="5" y="1810"/>
                  </a:lnTo>
                  <a:lnTo>
                    <a:pt x="9" y="1781"/>
                  </a:lnTo>
                  <a:lnTo>
                    <a:pt x="14" y="1749"/>
                  </a:lnTo>
                  <a:lnTo>
                    <a:pt x="19" y="1711"/>
                  </a:lnTo>
                  <a:lnTo>
                    <a:pt x="25" y="1668"/>
                  </a:lnTo>
                  <a:lnTo>
                    <a:pt x="33" y="1621"/>
                  </a:lnTo>
                  <a:lnTo>
                    <a:pt x="42" y="1571"/>
                  </a:lnTo>
                  <a:lnTo>
                    <a:pt x="53" y="1516"/>
                  </a:lnTo>
                  <a:lnTo>
                    <a:pt x="65" y="1459"/>
                  </a:lnTo>
                  <a:lnTo>
                    <a:pt x="80" y="1398"/>
                  </a:lnTo>
                  <a:lnTo>
                    <a:pt x="95" y="1446"/>
                  </a:lnTo>
                  <a:lnTo>
                    <a:pt x="114" y="1498"/>
                  </a:lnTo>
                  <a:lnTo>
                    <a:pt x="136" y="1549"/>
                  </a:lnTo>
                  <a:lnTo>
                    <a:pt x="160" y="1601"/>
                  </a:lnTo>
                  <a:lnTo>
                    <a:pt x="186" y="1653"/>
                  </a:lnTo>
                  <a:lnTo>
                    <a:pt x="216" y="1704"/>
                  </a:lnTo>
                  <a:lnTo>
                    <a:pt x="248" y="1754"/>
                  </a:lnTo>
                  <a:lnTo>
                    <a:pt x="284" y="1801"/>
                  </a:lnTo>
                  <a:lnTo>
                    <a:pt x="321" y="1846"/>
                  </a:lnTo>
                  <a:lnTo>
                    <a:pt x="363" y="1887"/>
                  </a:lnTo>
                  <a:lnTo>
                    <a:pt x="408" y="1924"/>
                  </a:lnTo>
                  <a:lnTo>
                    <a:pt x="424" y="1932"/>
                  </a:lnTo>
                  <a:lnTo>
                    <a:pt x="442" y="1934"/>
                  </a:lnTo>
                  <a:lnTo>
                    <a:pt x="454" y="1933"/>
                  </a:lnTo>
                  <a:lnTo>
                    <a:pt x="466" y="1929"/>
                  </a:lnTo>
                  <a:lnTo>
                    <a:pt x="477" y="1922"/>
                  </a:lnTo>
                  <a:lnTo>
                    <a:pt x="486" y="1912"/>
                  </a:lnTo>
                  <a:lnTo>
                    <a:pt x="493" y="1899"/>
                  </a:lnTo>
                  <a:lnTo>
                    <a:pt x="497" y="1885"/>
                  </a:lnTo>
                  <a:lnTo>
                    <a:pt x="496" y="1871"/>
                  </a:lnTo>
                  <a:lnTo>
                    <a:pt x="493" y="1857"/>
                  </a:lnTo>
                  <a:lnTo>
                    <a:pt x="484" y="1844"/>
                  </a:lnTo>
                  <a:lnTo>
                    <a:pt x="474" y="1834"/>
                  </a:lnTo>
                  <a:lnTo>
                    <a:pt x="435" y="1801"/>
                  </a:lnTo>
                  <a:lnTo>
                    <a:pt x="399" y="1766"/>
                  </a:lnTo>
                  <a:lnTo>
                    <a:pt x="365" y="1725"/>
                  </a:lnTo>
                  <a:lnTo>
                    <a:pt x="334" y="1682"/>
                  </a:lnTo>
                  <a:lnTo>
                    <a:pt x="306" y="1637"/>
                  </a:lnTo>
                  <a:lnTo>
                    <a:pt x="279" y="1590"/>
                  </a:lnTo>
                  <a:lnTo>
                    <a:pt x="255" y="1543"/>
                  </a:lnTo>
                  <a:lnTo>
                    <a:pt x="234" y="1494"/>
                  </a:lnTo>
                  <a:lnTo>
                    <a:pt x="216" y="1447"/>
                  </a:lnTo>
                  <a:lnTo>
                    <a:pt x="198" y="1401"/>
                  </a:lnTo>
                  <a:lnTo>
                    <a:pt x="183" y="1357"/>
                  </a:lnTo>
                  <a:lnTo>
                    <a:pt x="171" y="1315"/>
                  </a:lnTo>
                  <a:lnTo>
                    <a:pt x="159" y="1275"/>
                  </a:lnTo>
                  <a:lnTo>
                    <a:pt x="151" y="1241"/>
                  </a:lnTo>
                  <a:lnTo>
                    <a:pt x="142" y="1210"/>
                  </a:lnTo>
                  <a:lnTo>
                    <a:pt x="137" y="1184"/>
                  </a:lnTo>
                  <a:lnTo>
                    <a:pt x="159" y="1115"/>
                  </a:lnTo>
                  <a:lnTo>
                    <a:pt x="183" y="1044"/>
                  </a:lnTo>
                  <a:lnTo>
                    <a:pt x="210" y="973"/>
                  </a:lnTo>
                  <a:lnTo>
                    <a:pt x="239" y="900"/>
                  </a:lnTo>
                  <a:lnTo>
                    <a:pt x="270" y="827"/>
                  </a:lnTo>
                  <a:lnTo>
                    <a:pt x="304" y="755"/>
                  </a:lnTo>
                  <a:lnTo>
                    <a:pt x="341" y="682"/>
                  </a:lnTo>
                  <a:lnTo>
                    <a:pt x="380" y="610"/>
                  </a:lnTo>
                  <a:lnTo>
                    <a:pt x="422" y="540"/>
                  </a:lnTo>
                  <a:lnTo>
                    <a:pt x="468" y="470"/>
                  </a:lnTo>
                  <a:lnTo>
                    <a:pt x="516" y="402"/>
                  </a:lnTo>
                  <a:lnTo>
                    <a:pt x="567" y="336"/>
                  </a:lnTo>
                  <a:lnTo>
                    <a:pt x="622" y="273"/>
                  </a:lnTo>
                  <a:lnTo>
                    <a:pt x="679" y="212"/>
                  </a:lnTo>
                  <a:lnTo>
                    <a:pt x="741" y="154"/>
                  </a:lnTo>
                  <a:lnTo>
                    <a:pt x="806" y="99"/>
                  </a:lnTo>
                  <a:lnTo>
                    <a:pt x="874" y="47"/>
                  </a:lnTo>
                  <a:lnTo>
                    <a:pt x="94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64" name="Freeform 291">
              <a:extLst>
                <a:ext uri="{FF2B5EF4-FFF2-40B4-BE49-F238E27FC236}">
                  <a16:creationId xmlns:a16="http://schemas.microsoft.com/office/drawing/2014/main" id="{BB1534F7-D354-4439-BCB3-7972596D00A1}"/>
                </a:ext>
              </a:extLst>
            </p:cNvPr>
            <p:cNvSpPr>
              <a:spLocks/>
            </p:cNvSpPr>
            <p:nvPr/>
          </p:nvSpPr>
          <p:spPr bwMode="auto">
            <a:xfrm>
              <a:off x="815535" y="4306279"/>
              <a:ext cx="14872" cy="22840"/>
            </a:xfrm>
            <a:custGeom>
              <a:avLst/>
              <a:gdLst>
                <a:gd name="T0" fmla="*/ 366 w 366"/>
                <a:gd name="T1" fmla="*/ 0 h 561"/>
                <a:gd name="T2" fmla="*/ 366 w 366"/>
                <a:gd name="T3" fmla="*/ 485 h 561"/>
                <a:gd name="T4" fmla="*/ 366 w 366"/>
                <a:gd name="T5" fmla="*/ 495 h 561"/>
                <a:gd name="T6" fmla="*/ 366 w 366"/>
                <a:gd name="T7" fmla="*/ 498 h 561"/>
                <a:gd name="T8" fmla="*/ 364 w 366"/>
                <a:gd name="T9" fmla="*/ 518 h 561"/>
                <a:gd name="T10" fmla="*/ 358 w 366"/>
                <a:gd name="T11" fmla="*/ 536 h 561"/>
                <a:gd name="T12" fmla="*/ 348 w 366"/>
                <a:gd name="T13" fmla="*/ 548 h 561"/>
                <a:gd name="T14" fmla="*/ 336 w 366"/>
                <a:gd name="T15" fmla="*/ 558 h 561"/>
                <a:gd name="T16" fmla="*/ 322 w 366"/>
                <a:gd name="T17" fmla="*/ 561 h 561"/>
                <a:gd name="T18" fmla="*/ 44 w 366"/>
                <a:gd name="T19" fmla="*/ 561 h 561"/>
                <a:gd name="T20" fmla="*/ 30 w 366"/>
                <a:gd name="T21" fmla="*/ 558 h 561"/>
                <a:gd name="T22" fmla="*/ 18 w 366"/>
                <a:gd name="T23" fmla="*/ 548 h 561"/>
                <a:gd name="T24" fmla="*/ 8 w 366"/>
                <a:gd name="T25" fmla="*/ 536 h 561"/>
                <a:gd name="T26" fmla="*/ 2 w 366"/>
                <a:gd name="T27" fmla="*/ 518 h 561"/>
                <a:gd name="T28" fmla="*/ 0 w 366"/>
                <a:gd name="T29" fmla="*/ 498 h 561"/>
                <a:gd name="T30" fmla="*/ 0 w 366"/>
                <a:gd name="T31" fmla="*/ 495 h 561"/>
                <a:gd name="T32" fmla="*/ 0 w 366"/>
                <a:gd name="T33" fmla="*/ 485 h 561"/>
                <a:gd name="T34" fmla="*/ 0 w 366"/>
                <a:gd name="T35" fmla="*/ 467 h 561"/>
                <a:gd name="T36" fmla="*/ 0 w 366"/>
                <a:gd name="T37" fmla="*/ 445 h 561"/>
                <a:gd name="T38" fmla="*/ 0 w 366"/>
                <a:gd name="T39" fmla="*/ 417 h 561"/>
                <a:gd name="T40" fmla="*/ 0 w 366"/>
                <a:gd name="T41" fmla="*/ 385 h 561"/>
                <a:gd name="T42" fmla="*/ 0 w 366"/>
                <a:gd name="T43" fmla="*/ 349 h 561"/>
                <a:gd name="T44" fmla="*/ 0 w 366"/>
                <a:gd name="T45" fmla="*/ 311 h 561"/>
                <a:gd name="T46" fmla="*/ 0 w 366"/>
                <a:gd name="T47" fmla="*/ 269 h 561"/>
                <a:gd name="T48" fmla="*/ 0 w 366"/>
                <a:gd name="T49" fmla="*/ 225 h 561"/>
                <a:gd name="T50" fmla="*/ 0 w 366"/>
                <a:gd name="T51" fmla="*/ 181 h 561"/>
                <a:gd name="T52" fmla="*/ 0 w 366"/>
                <a:gd name="T53" fmla="*/ 135 h 561"/>
                <a:gd name="T54" fmla="*/ 0 w 366"/>
                <a:gd name="T55" fmla="*/ 89 h 561"/>
                <a:gd name="T56" fmla="*/ 0 w 366"/>
                <a:gd name="T57" fmla="*/ 44 h 561"/>
                <a:gd name="T58" fmla="*/ 0 w 366"/>
                <a:gd name="T59" fmla="*/ 0 h 561"/>
                <a:gd name="T60" fmla="*/ 40 w 366"/>
                <a:gd name="T61" fmla="*/ 4 h 561"/>
                <a:gd name="T62" fmla="*/ 75 w 366"/>
                <a:gd name="T63" fmla="*/ 5 h 561"/>
                <a:gd name="T64" fmla="*/ 109 w 366"/>
                <a:gd name="T65" fmla="*/ 6 h 561"/>
                <a:gd name="T66" fmla="*/ 140 w 366"/>
                <a:gd name="T67" fmla="*/ 5 h 561"/>
                <a:gd name="T68" fmla="*/ 165 w 366"/>
                <a:gd name="T69" fmla="*/ 4 h 561"/>
                <a:gd name="T70" fmla="*/ 183 w 366"/>
                <a:gd name="T71" fmla="*/ 2 h 561"/>
                <a:gd name="T72" fmla="*/ 201 w 366"/>
                <a:gd name="T73" fmla="*/ 4 h 561"/>
                <a:gd name="T74" fmla="*/ 225 w 366"/>
                <a:gd name="T75" fmla="*/ 5 h 561"/>
                <a:gd name="T76" fmla="*/ 256 w 366"/>
                <a:gd name="T77" fmla="*/ 5 h 561"/>
                <a:gd name="T78" fmla="*/ 290 w 366"/>
                <a:gd name="T79" fmla="*/ 5 h 561"/>
                <a:gd name="T80" fmla="*/ 326 w 366"/>
                <a:gd name="T81" fmla="*/ 2 h 561"/>
                <a:gd name="T82" fmla="*/ 366 w 366"/>
                <a:gd name="T8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6" h="561">
                  <a:moveTo>
                    <a:pt x="366" y="0"/>
                  </a:moveTo>
                  <a:lnTo>
                    <a:pt x="366" y="485"/>
                  </a:lnTo>
                  <a:lnTo>
                    <a:pt x="366" y="495"/>
                  </a:lnTo>
                  <a:lnTo>
                    <a:pt x="366" y="498"/>
                  </a:lnTo>
                  <a:lnTo>
                    <a:pt x="364" y="518"/>
                  </a:lnTo>
                  <a:lnTo>
                    <a:pt x="358" y="536"/>
                  </a:lnTo>
                  <a:lnTo>
                    <a:pt x="348" y="548"/>
                  </a:lnTo>
                  <a:lnTo>
                    <a:pt x="336" y="558"/>
                  </a:lnTo>
                  <a:lnTo>
                    <a:pt x="322" y="561"/>
                  </a:lnTo>
                  <a:lnTo>
                    <a:pt x="44" y="561"/>
                  </a:lnTo>
                  <a:lnTo>
                    <a:pt x="30" y="558"/>
                  </a:lnTo>
                  <a:lnTo>
                    <a:pt x="18" y="548"/>
                  </a:lnTo>
                  <a:lnTo>
                    <a:pt x="8" y="536"/>
                  </a:lnTo>
                  <a:lnTo>
                    <a:pt x="2" y="518"/>
                  </a:lnTo>
                  <a:lnTo>
                    <a:pt x="0" y="498"/>
                  </a:lnTo>
                  <a:lnTo>
                    <a:pt x="0" y="495"/>
                  </a:lnTo>
                  <a:lnTo>
                    <a:pt x="0" y="485"/>
                  </a:lnTo>
                  <a:lnTo>
                    <a:pt x="0" y="467"/>
                  </a:lnTo>
                  <a:lnTo>
                    <a:pt x="0" y="445"/>
                  </a:lnTo>
                  <a:lnTo>
                    <a:pt x="0" y="417"/>
                  </a:lnTo>
                  <a:lnTo>
                    <a:pt x="0" y="385"/>
                  </a:lnTo>
                  <a:lnTo>
                    <a:pt x="0" y="349"/>
                  </a:lnTo>
                  <a:lnTo>
                    <a:pt x="0" y="311"/>
                  </a:lnTo>
                  <a:lnTo>
                    <a:pt x="0" y="269"/>
                  </a:lnTo>
                  <a:lnTo>
                    <a:pt x="0" y="225"/>
                  </a:lnTo>
                  <a:lnTo>
                    <a:pt x="0" y="181"/>
                  </a:lnTo>
                  <a:lnTo>
                    <a:pt x="0" y="135"/>
                  </a:lnTo>
                  <a:lnTo>
                    <a:pt x="0" y="89"/>
                  </a:lnTo>
                  <a:lnTo>
                    <a:pt x="0" y="44"/>
                  </a:lnTo>
                  <a:lnTo>
                    <a:pt x="0" y="0"/>
                  </a:lnTo>
                  <a:lnTo>
                    <a:pt x="40" y="4"/>
                  </a:lnTo>
                  <a:lnTo>
                    <a:pt x="75" y="5"/>
                  </a:lnTo>
                  <a:lnTo>
                    <a:pt x="109" y="6"/>
                  </a:lnTo>
                  <a:lnTo>
                    <a:pt x="140" y="5"/>
                  </a:lnTo>
                  <a:lnTo>
                    <a:pt x="165" y="4"/>
                  </a:lnTo>
                  <a:lnTo>
                    <a:pt x="183" y="2"/>
                  </a:lnTo>
                  <a:lnTo>
                    <a:pt x="201" y="4"/>
                  </a:lnTo>
                  <a:lnTo>
                    <a:pt x="225" y="5"/>
                  </a:lnTo>
                  <a:lnTo>
                    <a:pt x="256" y="5"/>
                  </a:lnTo>
                  <a:lnTo>
                    <a:pt x="290" y="5"/>
                  </a:lnTo>
                  <a:lnTo>
                    <a:pt x="326" y="2"/>
                  </a:lnTo>
                  <a:lnTo>
                    <a:pt x="36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4" name="Freeform 292">
              <a:extLst>
                <a:ext uri="{FF2B5EF4-FFF2-40B4-BE49-F238E27FC236}">
                  <a16:creationId xmlns:a16="http://schemas.microsoft.com/office/drawing/2014/main" id="{F4C97FAB-E515-459B-ADEF-C5F4BB81F85B}"/>
                </a:ext>
              </a:extLst>
            </p:cNvPr>
            <p:cNvSpPr>
              <a:spLocks/>
            </p:cNvSpPr>
            <p:nvPr/>
          </p:nvSpPr>
          <p:spPr bwMode="auto">
            <a:xfrm>
              <a:off x="863868" y="4312653"/>
              <a:ext cx="11685" cy="16466"/>
            </a:xfrm>
            <a:custGeom>
              <a:avLst/>
              <a:gdLst>
                <a:gd name="T0" fmla="*/ 0 w 280"/>
                <a:gd name="T1" fmla="*/ 0 h 402"/>
                <a:gd name="T2" fmla="*/ 44 w 280"/>
                <a:gd name="T3" fmla="*/ 3 h 402"/>
                <a:gd name="T4" fmla="*/ 83 w 280"/>
                <a:gd name="T5" fmla="*/ 3 h 402"/>
                <a:gd name="T6" fmla="*/ 83 w 280"/>
                <a:gd name="T7" fmla="*/ 3 h 402"/>
                <a:gd name="T8" fmla="*/ 106 w 280"/>
                <a:gd name="T9" fmla="*/ 3 h 402"/>
                <a:gd name="T10" fmla="*/ 125 w 280"/>
                <a:gd name="T11" fmla="*/ 2 h 402"/>
                <a:gd name="T12" fmla="*/ 140 w 280"/>
                <a:gd name="T13" fmla="*/ 2 h 402"/>
                <a:gd name="T14" fmla="*/ 154 w 280"/>
                <a:gd name="T15" fmla="*/ 2 h 402"/>
                <a:gd name="T16" fmla="*/ 173 w 280"/>
                <a:gd name="T17" fmla="*/ 3 h 402"/>
                <a:gd name="T18" fmla="*/ 196 w 280"/>
                <a:gd name="T19" fmla="*/ 3 h 402"/>
                <a:gd name="T20" fmla="*/ 236 w 280"/>
                <a:gd name="T21" fmla="*/ 3 h 402"/>
                <a:gd name="T22" fmla="*/ 280 w 280"/>
                <a:gd name="T23" fmla="*/ 0 h 402"/>
                <a:gd name="T24" fmla="*/ 280 w 280"/>
                <a:gd name="T25" fmla="*/ 240 h 402"/>
                <a:gd name="T26" fmla="*/ 280 w 280"/>
                <a:gd name="T27" fmla="*/ 271 h 402"/>
                <a:gd name="T28" fmla="*/ 280 w 280"/>
                <a:gd name="T29" fmla="*/ 299 h 402"/>
                <a:gd name="T30" fmla="*/ 280 w 280"/>
                <a:gd name="T31" fmla="*/ 322 h 402"/>
                <a:gd name="T32" fmla="*/ 280 w 280"/>
                <a:gd name="T33" fmla="*/ 339 h 402"/>
                <a:gd name="T34" fmla="*/ 280 w 280"/>
                <a:gd name="T35" fmla="*/ 351 h 402"/>
                <a:gd name="T36" fmla="*/ 280 w 280"/>
                <a:gd name="T37" fmla="*/ 354 h 402"/>
                <a:gd name="T38" fmla="*/ 278 w 280"/>
                <a:gd name="T39" fmla="*/ 370 h 402"/>
                <a:gd name="T40" fmla="*/ 274 w 280"/>
                <a:gd name="T41" fmla="*/ 382 h 402"/>
                <a:gd name="T42" fmla="*/ 266 w 280"/>
                <a:gd name="T43" fmla="*/ 393 h 402"/>
                <a:gd name="T44" fmla="*/ 257 w 280"/>
                <a:gd name="T45" fmla="*/ 400 h 402"/>
                <a:gd name="T46" fmla="*/ 247 w 280"/>
                <a:gd name="T47" fmla="*/ 402 h 402"/>
                <a:gd name="T48" fmla="*/ 33 w 280"/>
                <a:gd name="T49" fmla="*/ 402 h 402"/>
                <a:gd name="T50" fmla="*/ 23 w 280"/>
                <a:gd name="T51" fmla="*/ 400 h 402"/>
                <a:gd name="T52" fmla="*/ 13 w 280"/>
                <a:gd name="T53" fmla="*/ 393 h 402"/>
                <a:gd name="T54" fmla="*/ 6 w 280"/>
                <a:gd name="T55" fmla="*/ 382 h 402"/>
                <a:gd name="T56" fmla="*/ 2 w 280"/>
                <a:gd name="T57" fmla="*/ 370 h 402"/>
                <a:gd name="T58" fmla="*/ 0 w 280"/>
                <a:gd name="T59" fmla="*/ 354 h 402"/>
                <a:gd name="T60" fmla="*/ 0 w 280"/>
                <a:gd name="T61" fmla="*/ 351 h 402"/>
                <a:gd name="T62" fmla="*/ 0 w 280"/>
                <a:gd name="T63" fmla="*/ 339 h 402"/>
                <a:gd name="T64" fmla="*/ 0 w 280"/>
                <a:gd name="T65" fmla="*/ 322 h 402"/>
                <a:gd name="T66" fmla="*/ 0 w 280"/>
                <a:gd name="T67" fmla="*/ 240 h 402"/>
                <a:gd name="T68" fmla="*/ 0 w 280"/>
                <a:gd name="T69" fmla="*/ 204 h 402"/>
                <a:gd name="T70" fmla="*/ 0 w 280"/>
                <a:gd name="T71" fmla="*/ 166 h 402"/>
                <a:gd name="T72" fmla="*/ 0 w 280"/>
                <a:gd name="T73" fmla="*/ 125 h 402"/>
                <a:gd name="T74" fmla="*/ 0 w 280"/>
                <a:gd name="T75" fmla="*/ 83 h 402"/>
                <a:gd name="T76" fmla="*/ 0 w 280"/>
                <a:gd name="T77" fmla="*/ 42 h 402"/>
                <a:gd name="T78" fmla="*/ 0 w 280"/>
                <a:gd name="T7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402">
                  <a:moveTo>
                    <a:pt x="0" y="0"/>
                  </a:moveTo>
                  <a:lnTo>
                    <a:pt x="44" y="3"/>
                  </a:lnTo>
                  <a:lnTo>
                    <a:pt x="83" y="3"/>
                  </a:lnTo>
                  <a:lnTo>
                    <a:pt x="83" y="3"/>
                  </a:lnTo>
                  <a:lnTo>
                    <a:pt x="106" y="3"/>
                  </a:lnTo>
                  <a:lnTo>
                    <a:pt x="125" y="2"/>
                  </a:lnTo>
                  <a:lnTo>
                    <a:pt x="140" y="2"/>
                  </a:lnTo>
                  <a:lnTo>
                    <a:pt x="154" y="2"/>
                  </a:lnTo>
                  <a:lnTo>
                    <a:pt x="173" y="3"/>
                  </a:lnTo>
                  <a:lnTo>
                    <a:pt x="196" y="3"/>
                  </a:lnTo>
                  <a:lnTo>
                    <a:pt x="236" y="3"/>
                  </a:lnTo>
                  <a:lnTo>
                    <a:pt x="280" y="0"/>
                  </a:lnTo>
                  <a:lnTo>
                    <a:pt x="280" y="240"/>
                  </a:lnTo>
                  <a:lnTo>
                    <a:pt x="280" y="271"/>
                  </a:lnTo>
                  <a:lnTo>
                    <a:pt x="280" y="299"/>
                  </a:lnTo>
                  <a:lnTo>
                    <a:pt x="280" y="322"/>
                  </a:lnTo>
                  <a:lnTo>
                    <a:pt x="280" y="339"/>
                  </a:lnTo>
                  <a:lnTo>
                    <a:pt x="280" y="351"/>
                  </a:lnTo>
                  <a:lnTo>
                    <a:pt x="280" y="354"/>
                  </a:lnTo>
                  <a:lnTo>
                    <a:pt x="278" y="370"/>
                  </a:lnTo>
                  <a:lnTo>
                    <a:pt x="274" y="382"/>
                  </a:lnTo>
                  <a:lnTo>
                    <a:pt x="266" y="393"/>
                  </a:lnTo>
                  <a:lnTo>
                    <a:pt x="257" y="400"/>
                  </a:lnTo>
                  <a:lnTo>
                    <a:pt x="247" y="402"/>
                  </a:lnTo>
                  <a:lnTo>
                    <a:pt x="33" y="402"/>
                  </a:lnTo>
                  <a:lnTo>
                    <a:pt x="23" y="400"/>
                  </a:lnTo>
                  <a:lnTo>
                    <a:pt x="13" y="393"/>
                  </a:lnTo>
                  <a:lnTo>
                    <a:pt x="6" y="382"/>
                  </a:lnTo>
                  <a:lnTo>
                    <a:pt x="2" y="370"/>
                  </a:lnTo>
                  <a:lnTo>
                    <a:pt x="0" y="354"/>
                  </a:lnTo>
                  <a:lnTo>
                    <a:pt x="0" y="351"/>
                  </a:lnTo>
                  <a:lnTo>
                    <a:pt x="0" y="339"/>
                  </a:lnTo>
                  <a:lnTo>
                    <a:pt x="0" y="322"/>
                  </a:lnTo>
                  <a:lnTo>
                    <a:pt x="0" y="240"/>
                  </a:lnTo>
                  <a:lnTo>
                    <a:pt x="0" y="204"/>
                  </a:lnTo>
                  <a:lnTo>
                    <a:pt x="0" y="166"/>
                  </a:lnTo>
                  <a:lnTo>
                    <a:pt x="0" y="125"/>
                  </a:lnTo>
                  <a:lnTo>
                    <a:pt x="0" y="83"/>
                  </a:lnTo>
                  <a:lnTo>
                    <a:pt x="0" y="42"/>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112" name="RbNavigator">
            <a:extLst>
              <a:ext uri="{FF2B5EF4-FFF2-40B4-BE49-F238E27FC236}">
                <a16:creationId xmlns:a16="http://schemas.microsoft.com/office/drawing/2014/main" id="{94F7B7B6-6F2F-410B-9AF1-6627C231ED0D}"/>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113" name="RbSticker">
            <a:extLst>
              <a:ext uri="{FF2B5EF4-FFF2-40B4-BE49-F238E27FC236}">
                <a16:creationId xmlns:a16="http://schemas.microsoft.com/office/drawing/2014/main" id="{7FB2CBB1-B5E1-42AE-893A-614D74FC3176}"/>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Tree>
    <p:extLst>
      <p:ext uri="{BB962C8B-B14F-4D97-AF65-F5344CB8AC3E}">
        <p14:creationId xmlns:p14="http://schemas.microsoft.com/office/powerpoint/2010/main" val="2865386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39237923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53" name="think-cell Slide" r:id="rId38" imgW="0" imgH="0" progId="TCLayout.ActiveDocument.1">
                  <p:embed/>
                </p:oleObj>
              </mc:Choice>
              <mc:Fallback>
                <p:oleObj name="think-cell Slide" r:id="rId38" imgW="0" imgH="0" progId="TCLayout.ActiveDocument.1">
                  <p:embed/>
                  <p:pic>
                    <p:nvPicPr>
                      <p:cNvPr id="23" name="Object 2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8D3B46C-B337-4181-98A8-4FAA2E48BA4C}"/>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a:latin typeface="Arial Narrow" panose="020B0606020202030204" pitchFamily="34" charset="0"/>
              <a:ea typeface="+mj-ea"/>
              <a:cs typeface="+mj-cs"/>
              <a:sym typeface="Arial Narrow" panose="020B0606020202030204" pitchFamily="34" charset="0"/>
            </a:endParaRPr>
          </a:p>
        </p:txBody>
      </p:sp>
      <p:sp>
        <p:nvSpPr>
          <p:cNvPr id="46" name="Title 45"/>
          <p:cNvSpPr>
            <a:spLocks noGrp="1"/>
          </p:cNvSpPr>
          <p:nvPr>
            <p:ph type="title"/>
          </p:nvPr>
        </p:nvSpPr>
        <p:spPr>
          <a:xfrm>
            <a:off x="737999" y="720000"/>
            <a:ext cx="8535989" cy="747897"/>
          </a:xfrm>
        </p:spPr>
        <p:txBody>
          <a:bodyPr vert="horz"/>
          <a:lstStyle/>
          <a:p>
            <a:pPr>
              <a:buSzPct val="100000"/>
            </a:pPr>
            <a:r>
              <a:rPr lang="en-GB" sz="2800">
                <a:cs typeface="Arial Narrow" pitchFamily="34" charset="0"/>
              </a:rPr>
              <a:t>Fuel price volatility has been a key feature of energy markets        – it may put some extra downward pressure on energy demand </a:t>
            </a:r>
            <a:endParaRPr lang="en-US" noProof="1">
              <a:latin typeface="+mn-lt"/>
            </a:endParaRPr>
          </a:p>
        </p:txBody>
      </p:sp>
      <p:sp>
        <p:nvSpPr>
          <p:cNvPr id="38" name="Source">
            <a:extLst>
              <a:ext uri="{FF2B5EF4-FFF2-40B4-BE49-F238E27FC236}">
                <a16:creationId xmlns:a16="http://schemas.microsoft.com/office/drawing/2014/main" id="{3417E0E5-C40B-4DCA-8815-915E4A4EE70C}"/>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IEA</a:t>
            </a:r>
          </a:p>
        </p:txBody>
      </p:sp>
      <p:sp>
        <p:nvSpPr>
          <p:cNvPr id="40" name="Subtitle">
            <a:extLst>
              <a:ext uri="{FF2B5EF4-FFF2-40B4-BE49-F238E27FC236}">
                <a16:creationId xmlns:a16="http://schemas.microsoft.com/office/drawing/2014/main" id="{0119CE08-DBEE-424A-AF12-CA300303B6D6}"/>
              </a:ext>
            </a:extLst>
          </p:cNvPr>
          <p:cNvSpPr txBox="1">
            <a:spLocks/>
          </p:cNvSpPr>
          <p:nvPr>
            <p:custDataLst>
              <p:tags r:id="rId4"/>
            </p:custDataLst>
          </p:nvPr>
        </p:nvSpPr>
        <p:spPr>
          <a:xfrm>
            <a:off x="736600" y="1710570"/>
            <a:ext cx="8534400" cy="323165"/>
          </a:xfrm>
          <a:prstGeom prst="rect">
            <a:avLst/>
          </a:prstGeom>
          <a:noFill/>
          <a:ln w="9525">
            <a:noFill/>
          </a:ln>
        </p:spPr>
        <p:txBody>
          <a:bodyPr vert="horz" wrap="square" lIns="0" tIns="0" rIns="0" bIns="0" rtlCol="0" anchor="t">
            <a:spAutoFit/>
          </a:bodyPr>
          <a:lstStyle/>
          <a:p>
            <a:r>
              <a:rPr lang="en-US" sz="2100" b="0">
                <a:solidFill>
                  <a:schemeClr val="bg1">
                    <a:lumMod val="65000"/>
                  </a:schemeClr>
                </a:solidFill>
                <a:sym typeface="+mn-lt"/>
              </a:rPr>
              <a:t>Brent oil prices [USD/barrel], 2015-2022 </a:t>
            </a:r>
          </a:p>
        </p:txBody>
      </p:sp>
      <p:pic>
        <p:nvPicPr>
          <p:cNvPr id="44" name="Picture 4">
            <a:extLst>
              <a:ext uri="{FF2B5EF4-FFF2-40B4-BE49-F238E27FC236}">
                <a16:creationId xmlns:a16="http://schemas.microsoft.com/office/drawing/2014/main" id="{BF194807-28D7-4967-BD56-1DA7FA98FDFD}"/>
              </a:ext>
            </a:extLst>
          </p:cNvPr>
          <p:cNvPicPr>
            <a:picLocks noChangeAspect="1" noChangeArrowheads="1"/>
          </p:cNvPicPr>
          <p:nvPr/>
        </p:nvPicPr>
        <p:blipFill>
          <a:blip r:embed="rId39" cstate="print">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a:fillRect/>
          </a:stretch>
        </p:blipFill>
        <p:spPr bwMode="auto">
          <a:xfrm flipH="1">
            <a:off x="693738" y="2738438"/>
            <a:ext cx="7583488" cy="3064122"/>
          </a:xfrm>
          <a:prstGeom prst="rect">
            <a:avLst/>
          </a:prstGeom>
          <a:noFill/>
          <a:extLst>
            <a:ext uri="{909E8E84-426E-40DD-AFC4-6F175D3DCCD1}">
              <a14:hiddenFill xmlns:a14="http://schemas.microsoft.com/office/drawing/2010/main">
                <a:solidFill>
                  <a:srgbClr val="FFFFFF"/>
                </a:solidFill>
              </a14:hiddenFill>
            </a:ext>
          </a:extLst>
        </p:spPr>
      </p:pic>
      <p:sp>
        <p:nvSpPr>
          <p:cNvPr id="45" name="Title 3">
            <a:extLst>
              <a:ext uri="{FF2B5EF4-FFF2-40B4-BE49-F238E27FC236}">
                <a16:creationId xmlns:a16="http://schemas.microsoft.com/office/drawing/2014/main" id="{7B6FAE85-3205-415A-8A8C-C909CF843823}"/>
              </a:ext>
            </a:extLst>
          </p:cNvPr>
          <p:cNvSpPr txBox="1">
            <a:spLocks/>
          </p:cNvSpPr>
          <p:nvPr/>
        </p:nvSpPr>
        <p:spPr>
          <a:xfrm>
            <a:off x="1890713" y="2543175"/>
            <a:ext cx="3754438" cy="3606800"/>
          </a:xfrm>
          <a:prstGeom prst="rect">
            <a:avLst/>
          </a:prstGeom>
        </p:spPr>
        <p:txBody>
          <a:bodyPr vert="horz" lIns="0" tIns="0" rIns="0" bIns="0" rtlCol="0" anchor="t" anchorCtr="0">
            <a:noAutofit/>
          </a:bodyPr>
          <a:lstStyle>
            <a:lvl1pPr algn="l" defTabSz="935816" rtl="0" eaLnBrk="1" latinLnBrk="0" hangingPunct="1">
              <a:spcBef>
                <a:spcPct val="0"/>
              </a:spcBef>
              <a:buNone/>
              <a:defRPr sz="2052" kern="1200">
                <a:solidFill>
                  <a:schemeClr val="accent1"/>
                </a:solidFill>
                <a:latin typeface="+mj-lt"/>
                <a:ea typeface="+mj-ea"/>
                <a:cs typeface="+mj-cs"/>
              </a:defRPr>
            </a:lvl1pPr>
          </a:lstStyle>
          <a:p>
            <a:pPr marL="139303" indent="-139303">
              <a:spcAft>
                <a:spcPts val="488"/>
              </a:spcAft>
              <a:buFont typeface="Wingdings" panose="05000000000000000000" pitchFamily="2" charset="2"/>
              <a:buChar char="§"/>
              <a:defRPr/>
            </a:pPr>
            <a:endParaRPr lang="en-GB" sz="1463">
              <a:solidFill>
                <a:srgbClr val="000000"/>
              </a:solidFill>
              <a:latin typeface="Calibri"/>
              <a:cs typeface="Calibri"/>
            </a:endParaRPr>
          </a:p>
        </p:txBody>
      </p:sp>
      <p:cxnSp>
        <p:nvCxnSpPr>
          <p:cNvPr id="66" name="Straight Connector 4351">
            <a:extLst>
              <a:ext uri="{FF2B5EF4-FFF2-40B4-BE49-F238E27FC236}">
                <a16:creationId xmlns:a16="http://schemas.microsoft.com/office/drawing/2014/main" id="{1451CC6B-72B7-4C3E-8365-17A1A29E6FB2}"/>
              </a:ext>
            </a:extLst>
          </p:cNvPr>
          <p:cNvCxnSpPr/>
          <p:nvPr>
            <p:custDataLst>
              <p:tags r:id="rId5"/>
            </p:custDataLst>
          </p:nvPr>
        </p:nvCxnSpPr>
        <p:spPr bwMode="auto">
          <a:xfrm>
            <a:off x="104616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4356">
            <a:extLst>
              <a:ext uri="{FF2B5EF4-FFF2-40B4-BE49-F238E27FC236}">
                <a16:creationId xmlns:a16="http://schemas.microsoft.com/office/drawing/2014/main" id="{ECE8644F-F8E3-4D62-B56B-13B176AE32A6}"/>
              </a:ext>
            </a:extLst>
          </p:cNvPr>
          <p:cNvCxnSpPr/>
          <p:nvPr>
            <p:custDataLst>
              <p:tags r:id="rId6"/>
            </p:custDataLst>
          </p:nvPr>
        </p:nvCxnSpPr>
        <p:spPr bwMode="auto">
          <a:xfrm>
            <a:off x="628808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A417347-A734-47CD-88FF-05D37BA7DD43}"/>
              </a:ext>
            </a:extLst>
          </p:cNvPr>
          <p:cNvCxnSpPr/>
          <p:nvPr>
            <p:custDataLst>
              <p:tags r:id="rId7"/>
            </p:custDataLst>
          </p:nvPr>
        </p:nvCxnSpPr>
        <p:spPr bwMode="auto">
          <a:xfrm>
            <a:off x="261620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454FE9EA-364E-4CAC-B791-C54F2BB39750}"/>
              </a:ext>
            </a:extLst>
          </p:cNvPr>
          <p:cNvCxnSpPr/>
          <p:nvPr>
            <p:custDataLst>
              <p:tags r:id="rId8"/>
            </p:custDataLst>
          </p:nvPr>
        </p:nvCxnSpPr>
        <p:spPr bwMode="auto">
          <a:xfrm>
            <a:off x="1565275"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4352">
            <a:extLst>
              <a:ext uri="{FF2B5EF4-FFF2-40B4-BE49-F238E27FC236}">
                <a16:creationId xmlns:a16="http://schemas.microsoft.com/office/drawing/2014/main" id="{52FBA2BD-2311-4BB0-82A1-47AE67B1AA3B}"/>
              </a:ext>
            </a:extLst>
          </p:cNvPr>
          <p:cNvCxnSpPr/>
          <p:nvPr>
            <p:custDataLst>
              <p:tags r:id="rId9"/>
            </p:custDataLst>
          </p:nvPr>
        </p:nvCxnSpPr>
        <p:spPr bwMode="auto">
          <a:xfrm>
            <a:off x="20939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4353">
            <a:extLst>
              <a:ext uri="{FF2B5EF4-FFF2-40B4-BE49-F238E27FC236}">
                <a16:creationId xmlns:a16="http://schemas.microsoft.com/office/drawing/2014/main" id="{C05C0538-979A-4D48-A15E-FAD35F9042ED}"/>
              </a:ext>
            </a:extLst>
          </p:cNvPr>
          <p:cNvCxnSpPr/>
          <p:nvPr>
            <p:custDataLst>
              <p:tags r:id="rId10"/>
            </p:custDataLst>
          </p:nvPr>
        </p:nvCxnSpPr>
        <p:spPr bwMode="auto">
          <a:xfrm>
            <a:off x="31448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1E43E870-4597-4919-9D8A-76EE2FD37DE5}"/>
              </a:ext>
            </a:extLst>
          </p:cNvPr>
          <p:cNvCxnSpPr/>
          <p:nvPr>
            <p:custDataLst>
              <p:tags r:id="rId11"/>
            </p:custDataLst>
          </p:nvPr>
        </p:nvCxnSpPr>
        <p:spPr bwMode="auto">
          <a:xfrm>
            <a:off x="366395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354">
            <a:extLst>
              <a:ext uri="{FF2B5EF4-FFF2-40B4-BE49-F238E27FC236}">
                <a16:creationId xmlns:a16="http://schemas.microsoft.com/office/drawing/2014/main" id="{008C8364-DAFE-40AA-A9D2-F6509AE02AAF}"/>
              </a:ext>
            </a:extLst>
          </p:cNvPr>
          <p:cNvCxnSpPr/>
          <p:nvPr>
            <p:custDataLst>
              <p:tags r:id="rId12"/>
            </p:custDataLst>
          </p:nvPr>
        </p:nvCxnSpPr>
        <p:spPr bwMode="auto">
          <a:xfrm>
            <a:off x="419258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A087CB5-68DC-45CA-856A-3FC39F5B6061}"/>
              </a:ext>
            </a:extLst>
          </p:cNvPr>
          <p:cNvCxnSpPr/>
          <p:nvPr>
            <p:custDataLst>
              <p:tags r:id="rId13"/>
            </p:custDataLst>
          </p:nvPr>
        </p:nvCxnSpPr>
        <p:spPr bwMode="auto">
          <a:xfrm>
            <a:off x="471170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355">
            <a:extLst>
              <a:ext uri="{FF2B5EF4-FFF2-40B4-BE49-F238E27FC236}">
                <a16:creationId xmlns:a16="http://schemas.microsoft.com/office/drawing/2014/main" id="{CFE7968B-BDAE-41CB-9478-EAC89F1E7E5B}"/>
              </a:ext>
            </a:extLst>
          </p:cNvPr>
          <p:cNvCxnSpPr/>
          <p:nvPr>
            <p:custDataLst>
              <p:tags r:id="rId14"/>
            </p:custDataLst>
          </p:nvPr>
        </p:nvCxnSpPr>
        <p:spPr bwMode="auto">
          <a:xfrm>
            <a:off x="52403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01F48F5B-3C02-4EA6-A7F1-AF5812FB70C2}"/>
              </a:ext>
            </a:extLst>
          </p:cNvPr>
          <p:cNvCxnSpPr/>
          <p:nvPr>
            <p:custDataLst>
              <p:tags r:id="rId15"/>
            </p:custDataLst>
          </p:nvPr>
        </p:nvCxnSpPr>
        <p:spPr bwMode="auto">
          <a:xfrm>
            <a:off x="57610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30C00B1-8D6F-40CE-8EFC-3260EFCD1CDC}"/>
              </a:ext>
            </a:extLst>
          </p:cNvPr>
          <p:cNvCxnSpPr/>
          <p:nvPr>
            <p:custDataLst>
              <p:tags r:id="rId16"/>
            </p:custDataLst>
          </p:nvPr>
        </p:nvCxnSpPr>
        <p:spPr bwMode="auto">
          <a:xfrm>
            <a:off x="681196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4357">
            <a:extLst>
              <a:ext uri="{FF2B5EF4-FFF2-40B4-BE49-F238E27FC236}">
                <a16:creationId xmlns:a16="http://schemas.microsoft.com/office/drawing/2014/main" id="{2E722F8A-3360-43F0-90B8-143ECD919274}"/>
              </a:ext>
            </a:extLst>
          </p:cNvPr>
          <p:cNvCxnSpPr/>
          <p:nvPr>
            <p:custDataLst>
              <p:tags r:id="rId17"/>
            </p:custDataLst>
          </p:nvPr>
        </p:nvCxnSpPr>
        <p:spPr bwMode="auto">
          <a:xfrm>
            <a:off x="73390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D21FC4B-F18D-47D6-9570-279204DD4CEC}"/>
              </a:ext>
            </a:extLst>
          </p:cNvPr>
          <p:cNvCxnSpPr/>
          <p:nvPr>
            <p:custDataLst>
              <p:tags r:id="rId18"/>
            </p:custDataLst>
          </p:nvPr>
        </p:nvCxnSpPr>
        <p:spPr bwMode="auto">
          <a:xfrm>
            <a:off x="78597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4358">
            <a:extLst>
              <a:ext uri="{FF2B5EF4-FFF2-40B4-BE49-F238E27FC236}">
                <a16:creationId xmlns:a16="http://schemas.microsoft.com/office/drawing/2014/main" id="{0E05A84D-0460-45E2-91F7-13872B5A8BED}"/>
              </a:ext>
            </a:extLst>
          </p:cNvPr>
          <p:cNvCxnSpPr/>
          <p:nvPr>
            <p:custDataLst>
              <p:tags r:id="rId19"/>
            </p:custDataLst>
          </p:nvPr>
        </p:nvCxnSpPr>
        <p:spPr bwMode="auto">
          <a:xfrm>
            <a:off x="838835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2" name="Chart 101">
            <a:extLst>
              <a:ext uri="{FF2B5EF4-FFF2-40B4-BE49-F238E27FC236}">
                <a16:creationId xmlns:a16="http://schemas.microsoft.com/office/drawing/2014/main" id="{E32580B6-EC0D-4BA1-93C4-1E52DCE59DE0}"/>
              </a:ext>
            </a:extLst>
          </p:cNvPr>
          <p:cNvGraphicFramePr/>
          <p:nvPr>
            <p:custDataLst>
              <p:tags r:id="rId20"/>
            </p:custDataLst>
          </p:nvPr>
        </p:nvGraphicFramePr>
        <p:xfrm>
          <a:off x="534988" y="2268538"/>
          <a:ext cx="8369300" cy="3862387"/>
        </p:xfrm>
        <a:graphic>
          <a:graphicData uri="http://schemas.openxmlformats.org/drawingml/2006/chart">
            <c:chart xmlns:c="http://schemas.openxmlformats.org/drawingml/2006/chart" xmlns:r="http://schemas.openxmlformats.org/officeDocument/2006/relationships" r:id="rId40"/>
          </a:graphicData>
        </a:graphic>
      </p:graphicFrame>
      <p:sp>
        <p:nvSpPr>
          <p:cNvPr id="75" name="Text Placeholder">
            <a:extLst>
              <a:ext uri="{FF2B5EF4-FFF2-40B4-BE49-F238E27FC236}">
                <a16:creationId xmlns:a16="http://schemas.microsoft.com/office/drawing/2014/main" id="{8D139926-5257-4AC2-A95F-6A6C5039AAA6}"/>
              </a:ext>
            </a:extLst>
          </p:cNvPr>
          <p:cNvSpPr>
            <a:spLocks noGrp="1"/>
          </p:cNvSpPr>
          <p:nvPr>
            <p:custDataLst>
              <p:tags r:id="rId21"/>
            </p:custDataLst>
          </p:nvPr>
        </p:nvSpPr>
        <p:spPr bwMode="gray">
          <a:xfrm>
            <a:off x="81280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15D63EF-F624-4375-A3FA-50321D87734B}" type="datetime'''''''''1''''/1/''''''''''''''''''''2''''''0''''''''''1''5'">
              <a:rPr lang="en-US" altLang="en-US" sz="1138" smtClean="0"/>
              <a:pPr algn="ctr">
                <a:spcBef>
                  <a:spcPct val="0"/>
                </a:spcBef>
              </a:pPr>
              <a:t>1/1/2015</a:t>
            </a:fld>
            <a:endParaRPr lang="en-US" sz="1138"/>
          </a:p>
        </p:txBody>
      </p:sp>
      <p:sp>
        <p:nvSpPr>
          <p:cNvPr id="76" name="Text Placeholder">
            <a:extLst>
              <a:ext uri="{FF2B5EF4-FFF2-40B4-BE49-F238E27FC236}">
                <a16:creationId xmlns:a16="http://schemas.microsoft.com/office/drawing/2014/main" id="{2607654B-C6E4-412C-AC5C-4DDC1045B795}"/>
              </a:ext>
            </a:extLst>
          </p:cNvPr>
          <p:cNvSpPr>
            <a:spLocks noGrp="1"/>
          </p:cNvSpPr>
          <p:nvPr>
            <p:custDataLst>
              <p:tags r:id="rId22"/>
            </p:custDataLst>
          </p:nvPr>
        </p:nvSpPr>
        <p:spPr bwMode="gray">
          <a:xfrm>
            <a:off x="18605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A1F31E-BA87-46F1-8D91-25416973157C}" type="datetime'''''''''1''''/''''1''''''''/20''''''''''1''''''''''6'''''">
              <a:rPr lang="en-US" altLang="en-US" sz="1138" smtClean="0"/>
              <a:pPr algn="ctr">
                <a:spcBef>
                  <a:spcPct val="0"/>
                </a:spcBef>
              </a:pPr>
              <a:t>1/1/2016</a:t>
            </a:fld>
            <a:endParaRPr lang="en-US" sz="1138"/>
          </a:p>
        </p:txBody>
      </p:sp>
      <p:sp>
        <p:nvSpPr>
          <p:cNvPr id="82" name="Text Placeholder">
            <a:extLst>
              <a:ext uri="{FF2B5EF4-FFF2-40B4-BE49-F238E27FC236}">
                <a16:creationId xmlns:a16="http://schemas.microsoft.com/office/drawing/2014/main" id="{2435B0AB-B2B0-4530-84B3-0E664A9CC387}"/>
              </a:ext>
            </a:extLst>
          </p:cNvPr>
          <p:cNvSpPr>
            <a:spLocks noGrp="1"/>
          </p:cNvSpPr>
          <p:nvPr>
            <p:custDataLst>
              <p:tags r:id="rId23"/>
            </p:custDataLst>
          </p:nvPr>
        </p:nvSpPr>
        <p:spPr bwMode="gray">
          <a:xfrm>
            <a:off x="1331913"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FABBE4-65F5-4A0D-A64A-078EC02E882E}" type="datetime'''''''''''7''''/1''/''''''2''''''''''''0''1''5'''">
              <a:rPr lang="en-US" altLang="en-US" sz="1138" smtClean="0"/>
              <a:pPr algn="ctr">
                <a:spcBef>
                  <a:spcPct val="0"/>
                </a:spcBef>
              </a:pPr>
              <a:t>7/1/2015</a:t>
            </a:fld>
            <a:endParaRPr lang="en-US" sz="1138"/>
          </a:p>
        </p:txBody>
      </p:sp>
      <p:sp>
        <p:nvSpPr>
          <p:cNvPr id="84" name="Text Placeholder">
            <a:extLst>
              <a:ext uri="{FF2B5EF4-FFF2-40B4-BE49-F238E27FC236}">
                <a16:creationId xmlns:a16="http://schemas.microsoft.com/office/drawing/2014/main" id="{DA3C525A-4C79-451B-B318-8C7578263664}"/>
              </a:ext>
            </a:extLst>
          </p:cNvPr>
          <p:cNvSpPr>
            <a:spLocks noGrp="1"/>
          </p:cNvSpPr>
          <p:nvPr>
            <p:custDataLst>
              <p:tags r:id="rId24"/>
            </p:custDataLst>
          </p:nvPr>
        </p:nvSpPr>
        <p:spPr bwMode="gray">
          <a:xfrm>
            <a:off x="76263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0CA4ECD-AFA2-4AE9-9750-F91DE548A557}" type="datetime'7''''/1/''''''''''''''''''''''2''''''''''02''1'''''''''''''''">
              <a:rPr lang="en-US" altLang="en-US" sz="1138" smtClean="0"/>
              <a:pPr algn="ctr">
                <a:spcBef>
                  <a:spcPct val="0"/>
                </a:spcBef>
              </a:pPr>
              <a:t>7/1/2021</a:t>
            </a:fld>
            <a:endParaRPr lang="en-US" sz="1138"/>
          </a:p>
        </p:txBody>
      </p:sp>
      <p:sp>
        <p:nvSpPr>
          <p:cNvPr id="74" name="Text Placeholder">
            <a:extLst>
              <a:ext uri="{FF2B5EF4-FFF2-40B4-BE49-F238E27FC236}">
                <a16:creationId xmlns:a16="http://schemas.microsoft.com/office/drawing/2014/main" id="{1811FC6F-CB99-494B-9B42-F5F4BD446194}"/>
              </a:ext>
            </a:extLst>
          </p:cNvPr>
          <p:cNvSpPr>
            <a:spLocks noGrp="1"/>
          </p:cNvSpPr>
          <p:nvPr>
            <p:custDataLst>
              <p:tags r:id="rId25"/>
            </p:custDataLst>
          </p:nvPr>
        </p:nvSpPr>
        <p:spPr bwMode="gray">
          <a:xfrm>
            <a:off x="29114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18F6D8-FE75-4129-9376-A07DEE66CB5E}" type="datetime'1''/''''''1/''''2''''0''''''''17'''''''''''''''''''''''">
              <a:rPr lang="en-US" altLang="en-US" sz="1138" smtClean="0"/>
              <a:pPr algn="ctr">
                <a:spcBef>
                  <a:spcPct val="0"/>
                </a:spcBef>
              </a:pPr>
              <a:t>1/1/2017</a:t>
            </a:fld>
            <a:endParaRPr lang="en-US" sz="1138"/>
          </a:p>
        </p:txBody>
      </p:sp>
      <p:sp>
        <p:nvSpPr>
          <p:cNvPr id="86" name="Text Placeholder">
            <a:extLst>
              <a:ext uri="{FF2B5EF4-FFF2-40B4-BE49-F238E27FC236}">
                <a16:creationId xmlns:a16="http://schemas.microsoft.com/office/drawing/2014/main" id="{044DFF16-861B-4A9A-AB2F-768452AA2FA9}"/>
              </a:ext>
            </a:extLst>
          </p:cNvPr>
          <p:cNvSpPr>
            <a:spLocks noGrp="1"/>
          </p:cNvSpPr>
          <p:nvPr>
            <p:custDataLst>
              <p:tags r:id="rId26"/>
            </p:custDataLst>
          </p:nvPr>
        </p:nvSpPr>
        <p:spPr bwMode="gray">
          <a:xfrm>
            <a:off x="238283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983BD19-92F9-468C-B7AD-AC4FE81B8DD0}" type="datetime'''''''''''''''''''''7''''/1/''''''2''0''''''''1''''''6'''''''">
              <a:rPr lang="en-US" altLang="en-US" sz="1138" smtClean="0"/>
              <a:pPr algn="ctr">
                <a:spcBef>
                  <a:spcPct val="0"/>
                </a:spcBef>
              </a:pPr>
              <a:t>7/1/2016</a:t>
            </a:fld>
            <a:endParaRPr lang="en-US" sz="1138"/>
          </a:p>
        </p:txBody>
      </p:sp>
      <p:sp>
        <p:nvSpPr>
          <p:cNvPr id="87" name="Text Placeholder">
            <a:extLst>
              <a:ext uri="{FF2B5EF4-FFF2-40B4-BE49-F238E27FC236}">
                <a16:creationId xmlns:a16="http://schemas.microsoft.com/office/drawing/2014/main" id="{A261A2E5-C3BC-4A18-BE0B-86E8DF9F76B9}"/>
              </a:ext>
            </a:extLst>
          </p:cNvPr>
          <p:cNvSpPr>
            <a:spLocks noGrp="1"/>
          </p:cNvSpPr>
          <p:nvPr>
            <p:custDataLst>
              <p:tags r:id="rId27"/>
            </p:custDataLst>
          </p:nvPr>
        </p:nvSpPr>
        <p:spPr bwMode="gray">
          <a:xfrm>
            <a:off x="447833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8F35FCD-72D1-4232-BD0E-45B1D3FF19A8}" type="datetime'''''''''''''''7''''''/1/20''''''''1''''''8'''''">
              <a:rPr lang="en-US" altLang="en-US" sz="1138" smtClean="0"/>
              <a:pPr algn="ctr">
                <a:spcBef>
                  <a:spcPct val="0"/>
                </a:spcBef>
              </a:pPr>
              <a:t>7/1/2018</a:t>
            </a:fld>
            <a:endParaRPr lang="en-US" sz="1138"/>
          </a:p>
        </p:txBody>
      </p:sp>
      <p:sp>
        <p:nvSpPr>
          <p:cNvPr id="81" name="Text Placeholder">
            <a:extLst>
              <a:ext uri="{FF2B5EF4-FFF2-40B4-BE49-F238E27FC236}">
                <a16:creationId xmlns:a16="http://schemas.microsoft.com/office/drawing/2014/main" id="{AB5236DD-E12A-491E-AB13-0AC044CFB648}"/>
              </a:ext>
            </a:extLst>
          </p:cNvPr>
          <p:cNvSpPr>
            <a:spLocks noGrp="1"/>
          </p:cNvSpPr>
          <p:nvPr>
            <p:custDataLst>
              <p:tags r:id="rId28"/>
            </p:custDataLst>
          </p:nvPr>
        </p:nvSpPr>
        <p:spPr bwMode="gray">
          <a:xfrm>
            <a:off x="343058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22122D9-2100-4FAA-8AD0-8374E01562F0}" type="datetime'''7''''/''''''1''''/2''''''''''''''''''''''''01''''''''7'">
              <a:rPr lang="en-US" altLang="en-US" sz="1138" smtClean="0"/>
              <a:pPr algn="ctr">
                <a:spcBef>
                  <a:spcPct val="0"/>
                </a:spcBef>
              </a:pPr>
              <a:t>7/1/2017</a:t>
            </a:fld>
            <a:endParaRPr lang="en-US" sz="1138"/>
          </a:p>
        </p:txBody>
      </p:sp>
      <p:sp>
        <p:nvSpPr>
          <p:cNvPr id="77" name="Text Placeholder">
            <a:extLst>
              <a:ext uri="{FF2B5EF4-FFF2-40B4-BE49-F238E27FC236}">
                <a16:creationId xmlns:a16="http://schemas.microsoft.com/office/drawing/2014/main" id="{B05FDF97-0662-4F97-A6B8-2F666DE763D3}"/>
              </a:ext>
            </a:extLst>
          </p:cNvPr>
          <p:cNvSpPr>
            <a:spLocks noGrp="1"/>
          </p:cNvSpPr>
          <p:nvPr>
            <p:custDataLst>
              <p:tags r:id="rId29"/>
            </p:custDataLst>
          </p:nvPr>
        </p:nvSpPr>
        <p:spPr bwMode="gray">
          <a:xfrm>
            <a:off x="395922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19B8A52-79C5-49FB-B1F0-C941476E9BE5}" type="datetime'''''1''''''''/1''''/''''''2''''''''''''0''1''''''8'''''">
              <a:rPr lang="en-US" altLang="en-US" sz="1138" smtClean="0"/>
              <a:pPr algn="ctr">
                <a:spcBef>
                  <a:spcPct val="0"/>
                </a:spcBef>
              </a:pPr>
              <a:t>1/1/2018</a:t>
            </a:fld>
            <a:endParaRPr lang="en-US" sz="1138"/>
          </a:p>
        </p:txBody>
      </p:sp>
      <p:sp>
        <p:nvSpPr>
          <p:cNvPr id="80" name="Text Placeholder">
            <a:extLst>
              <a:ext uri="{FF2B5EF4-FFF2-40B4-BE49-F238E27FC236}">
                <a16:creationId xmlns:a16="http://schemas.microsoft.com/office/drawing/2014/main" id="{0B7BD851-8194-4417-8AF7-26CCE53D03AC}"/>
              </a:ext>
            </a:extLst>
          </p:cNvPr>
          <p:cNvSpPr>
            <a:spLocks noGrp="1"/>
          </p:cNvSpPr>
          <p:nvPr>
            <p:custDataLst>
              <p:tags r:id="rId30"/>
            </p:custDataLst>
          </p:nvPr>
        </p:nvSpPr>
        <p:spPr bwMode="gray">
          <a:xfrm>
            <a:off x="50069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F7DAFDB-6101-4FFB-A13B-4D5F88668685}" type="datetime'1''''''''/''''''''1''''''/2''''''''0''''''''''''''1''''''9'''">
              <a:rPr lang="en-US" altLang="en-US" sz="1138" smtClean="0"/>
              <a:pPr algn="ctr">
                <a:spcBef>
                  <a:spcPct val="0"/>
                </a:spcBef>
              </a:pPr>
              <a:t>1/1/2019</a:t>
            </a:fld>
            <a:endParaRPr lang="en-US" sz="1138"/>
          </a:p>
        </p:txBody>
      </p:sp>
      <p:sp>
        <p:nvSpPr>
          <p:cNvPr id="78" name="Text Placeholder">
            <a:extLst>
              <a:ext uri="{FF2B5EF4-FFF2-40B4-BE49-F238E27FC236}">
                <a16:creationId xmlns:a16="http://schemas.microsoft.com/office/drawing/2014/main" id="{AF26275B-23C9-473D-AAB6-91F8557DC96A}"/>
              </a:ext>
            </a:extLst>
          </p:cNvPr>
          <p:cNvSpPr>
            <a:spLocks noGrp="1"/>
          </p:cNvSpPr>
          <p:nvPr>
            <p:custDataLst>
              <p:tags r:id="rId31"/>
            </p:custDataLst>
          </p:nvPr>
        </p:nvSpPr>
        <p:spPr bwMode="gray">
          <a:xfrm>
            <a:off x="55276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C232FCB-1338-4D65-A0F2-8CA7DC8610EF}" type="datetime'''''''''''''7''''''''''''/''1''''/''2''''''0''''''1''9'''">
              <a:rPr lang="en-US" altLang="en-US" sz="1138" smtClean="0"/>
              <a:pPr algn="ctr">
                <a:spcBef>
                  <a:spcPct val="0"/>
                </a:spcBef>
              </a:pPr>
              <a:t>7/1/2019</a:t>
            </a:fld>
            <a:endParaRPr lang="en-US" sz="1138"/>
          </a:p>
        </p:txBody>
      </p:sp>
      <p:sp>
        <p:nvSpPr>
          <p:cNvPr id="85" name="Text Placeholder">
            <a:extLst>
              <a:ext uri="{FF2B5EF4-FFF2-40B4-BE49-F238E27FC236}">
                <a16:creationId xmlns:a16="http://schemas.microsoft.com/office/drawing/2014/main" id="{C1DDA5D6-2270-4D33-8764-8D25CE50F7A2}"/>
              </a:ext>
            </a:extLst>
          </p:cNvPr>
          <p:cNvSpPr>
            <a:spLocks noGrp="1"/>
          </p:cNvSpPr>
          <p:nvPr>
            <p:custDataLst>
              <p:tags r:id="rId32"/>
            </p:custDataLst>
          </p:nvPr>
        </p:nvSpPr>
        <p:spPr bwMode="gray">
          <a:xfrm>
            <a:off x="605472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DFC1272-CD3C-4055-8CC3-5A2BE84E1852}" type="datetime'''''''1''/''''''''''''''''''''''''''''1''/''2''''0''2''''0'''">
              <a:rPr lang="en-US" altLang="en-US" sz="1138" smtClean="0"/>
              <a:pPr algn="ctr">
                <a:spcBef>
                  <a:spcPct val="0"/>
                </a:spcBef>
              </a:pPr>
              <a:t>1/1/2020</a:t>
            </a:fld>
            <a:endParaRPr lang="en-US" sz="1138"/>
          </a:p>
        </p:txBody>
      </p:sp>
      <p:sp>
        <p:nvSpPr>
          <p:cNvPr id="79" name="Text Placeholder">
            <a:extLst>
              <a:ext uri="{FF2B5EF4-FFF2-40B4-BE49-F238E27FC236}">
                <a16:creationId xmlns:a16="http://schemas.microsoft.com/office/drawing/2014/main" id="{E4A39170-BF9B-4114-A373-EE5E713C3E32}"/>
              </a:ext>
            </a:extLst>
          </p:cNvPr>
          <p:cNvSpPr>
            <a:spLocks noGrp="1"/>
          </p:cNvSpPr>
          <p:nvPr>
            <p:custDataLst>
              <p:tags r:id="rId33"/>
            </p:custDataLst>
          </p:nvPr>
        </p:nvSpPr>
        <p:spPr bwMode="gray">
          <a:xfrm>
            <a:off x="815498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BD7FC8A-151B-4C69-8646-F40003BC63D8}" type="datetime'1''/''''''1/''''''''''''''2''0''''''''''''''''''2''''2'''">
              <a:rPr lang="en-US" altLang="en-US" sz="1138" smtClean="0"/>
              <a:pPr algn="ctr">
                <a:spcBef>
                  <a:spcPct val="0"/>
                </a:spcBef>
              </a:pPr>
              <a:t>1/1/2022</a:t>
            </a:fld>
            <a:endParaRPr lang="en-US" sz="1138"/>
          </a:p>
        </p:txBody>
      </p:sp>
      <p:sp>
        <p:nvSpPr>
          <p:cNvPr id="83" name="Text Placeholder">
            <a:extLst>
              <a:ext uri="{FF2B5EF4-FFF2-40B4-BE49-F238E27FC236}">
                <a16:creationId xmlns:a16="http://schemas.microsoft.com/office/drawing/2014/main" id="{60E7DD50-5E86-49D5-81E7-DBEC16360309}"/>
              </a:ext>
            </a:extLst>
          </p:cNvPr>
          <p:cNvSpPr>
            <a:spLocks noGrp="1"/>
          </p:cNvSpPr>
          <p:nvPr>
            <p:custDataLst>
              <p:tags r:id="rId34"/>
            </p:custDataLst>
          </p:nvPr>
        </p:nvSpPr>
        <p:spPr bwMode="gray">
          <a:xfrm>
            <a:off x="657860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CD494E6-89F9-4355-A850-31566797C014}" type="datetime'7''''''''/1''''/''''2''''''''''''''''02''''''''''''0'''''">
              <a:rPr lang="en-US" altLang="en-US" sz="1138" smtClean="0"/>
              <a:pPr algn="ctr">
                <a:spcBef>
                  <a:spcPct val="0"/>
                </a:spcBef>
              </a:pPr>
              <a:t>7/1/2020</a:t>
            </a:fld>
            <a:endParaRPr lang="en-US" sz="1138"/>
          </a:p>
        </p:txBody>
      </p:sp>
      <p:sp>
        <p:nvSpPr>
          <p:cNvPr id="73" name="Text Placeholder">
            <a:extLst>
              <a:ext uri="{FF2B5EF4-FFF2-40B4-BE49-F238E27FC236}">
                <a16:creationId xmlns:a16="http://schemas.microsoft.com/office/drawing/2014/main" id="{DFCA240C-FA90-49EF-95EF-6136DE96C7A1}"/>
              </a:ext>
            </a:extLst>
          </p:cNvPr>
          <p:cNvSpPr>
            <a:spLocks noGrp="1"/>
          </p:cNvSpPr>
          <p:nvPr>
            <p:custDataLst>
              <p:tags r:id="rId35"/>
            </p:custDataLst>
          </p:nvPr>
        </p:nvSpPr>
        <p:spPr bwMode="gray">
          <a:xfrm>
            <a:off x="71056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677D130-3DCE-4289-95BB-C74CED4DF977}" type="datetime'''''''1''''''/''''''''''1''/''''2''''''''''''''0''2''''''1'">
              <a:rPr lang="en-US" altLang="en-US" sz="1138" smtClean="0"/>
              <a:pPr algn="ctr">
                <a:spcBef>
                  <a:spcPct val="0"/>
                </a:spcBef>
              </a:pPr>
              <a:t>1/1/2021</a:t>
            </a:fld>
            <a:endParaRPr lang="en-US" sz="1138"/>
          </a:p>
        </p:txBody>
      </p:sp>
      <p:sp>
        <p:nvSpPr>
          <p:cNvPr id="92" name="Freeform: Shape 21">
            <a:extLst>
              <a:ext uri="{FF2B5EF4-FFF2-40B4-BE49-F238E27FC236}">
                <a16:creationId xmlns:a16="http://schemas.microsoft.com/office/drawing/2014/main" id="{34C4CA85-ECE3-4D41-8935-1E536B49EA02}"/>
              </a:ext>
            </a:extLst>
          </p:cNvPr>
          <p:cNvSpPr>
            <a:spLocks noChangeAspect="1"/>
          </p:cNvSpPr>
          <p:nvPr/>
        </p:nvSpPr>
        <p:spPr>
          <a:xfrm>
            <a:off x="1177925" y="2557463"/>
            <a:ext cx="1246188" cy="1250046"/>
          </a:xfrm>
          <a:custGeom>
            <a:avLst/>
            <a:gdLst>
              <a:gd name="connsiteX0" fmla="*/ 1153862 w 2307815"/>
              <a:gd name="connsiteY0" fmla="*/ 1660259 h 2314959"/>
              <a:gd name="connsiteX1" fmla="*/ 958538 w 2307815"/>
              <a:gd name="connsiteY1" fmla="*/ 2047291 h 2314959"/>
              <a:gd name="connsiteX2" fmla="*/ 1153862 w 2307815"/>
              <a:gd name="connsiteY2" fmla="*/ 2242616 h 2314959"/>
              <a:gd name="connsiteX3" fmla="*/ 1349187 w 2307815"/>
              <a:gd name="connsiteY3" fmla="*/ 2047291 h 2314959"/>
              <a:gd name="connsiteX4" fmla="*/ 1153862 w 2307815"/>
              <a:gd name="connsiteY4" fmla="*/ 1660259 h 2314959"/>
              <a:gd name="connsiteX5" fmla="*/ 1153863 w 2307815"/>
              <a:gd name="connsiteY5" fmla="*/ 1563501 h 2314959"/>
              <a:gd name="connsiteX6" fmla="*/ 1182799 w 2307815"/>
              <a:gd name="connsiteY6" fmla="*/ 1577065 h 2314959"/>
              <a:gd name="connsiteX7" fmla="*/ 1421529 w 2307815"/>
              <a:gd name="connsiteY7" fmla="*/ 2047291 h 2314959"/>
              <a:gd name="connsiteX8" fmla="*/ 1153862 w 2307815"/>
              <a:gd name="connsiteY8" fmla="*/ 2314958 h 2314959"/>
              <a:gd name="connsiteX9" fmla="*/ 886195 w 2307815"/>
              <a:gd name="connsiteY9" fmla="*/ 2047291 h 2314959"/>
              <a:gd name="connsiteX10" fmla="*/ 1124925 w 2307815"/>
              <a:gd name="connsiteY10" fmla="*/ 1577065 h 2314959"/>
              <a:gd name="connsiteX11" fmla="*/ 1153863 w 2307815"/>
              <a:gd name="connsiteY11" fmla="*/ 1563501 h 2314959"/>
              <a:gd name="connsiteX12" fmla="*/ 1450467 w 2307815"/>
              <a:gd name="connsiteY12" fmla="*/ 1041731 h 2314959"/>
              <a:gd name="connsiteX13" fmla="*/ 1450467 w 2307815"/>
              <a:gd name="connsiteY13" fmla="*/ 1269610 h 2314959"/>
              <a:gd name="connsiteX14" fmla="*/ 1685580 w 2307815"/>
              <a:gd name="connsiteY14" fmla="*/ 1269610 h 2314959"/>
              <a:gd name="connsiteX15" fmla="*/ 1685580 w 2307815"/>
              <a:gd name="connsiteY15" fmla="*/ 1041731 h 2314959"/>
              <a:gd name="connsiteX16" fmla="*/ 618528 w 2307815"/>
              <a:gd name="connsiteY16" fmla="*/ 1041731 h 2314959"/>
              <a:gd name="connsiteX17" fmla="*/ 618528 w 2307815"/>
              <a:gd name="connsiteY17" fmla="*/ 1269610 h 2314959"/>
              <a:gd name="connsiteX18" fmla="*/ 853641 w 2307815"/>
              <a:gd name="connsiteY18" fmla="*/ 1269610 h 2314959"/>
              <a:gd name="connsiteX19" fmla="*/ 853641 w 2307815"/>
              <a:gd name="connsiteY19" fmla="*/ 1041731 h 2314959"/>
              <a:gd name="connsiteX20" fmla="*/ 1812179 w 2307815"/>
              <a:gd name="connsiteY20" fmla="*/ 911515 h 2314959"/>
              <a:gd name="connsiteX21" fmla="*/ 1761539 w 2307815"/>
              <a:gd name="connsiteY21" fmla="*/ 962155 h 2314959"/>
              <a:gd name="connsiteX22" fmla="*/ 1761539 w 2307815"/>
              <a:gd name="connsiteY22" fmla="*/ 1345570 h 2314959"/>
              <a:gd name="connsiteX23" fmla="*/ 1812179 w 2307815"/>
              <a:gd name="connsiteY23" fmla="*/ 1396209 h 2314959"/>
              <a:gd name="connsiteX24" fmla="*/ 1862819 w 2307815"/>
              <a:gd name="connsiteY24" fmla="*/ 1345570 h 2314959"/>
              <a:gd name="connsiteX25" fmla="*/ 1862819 w 2307815"/>
              <a:gd name="connsiteY25" fmla="*/ 962155 h 2314959"/>
              <a:gd name="connsiteX26" fmla="*/ 1812179 w 2307815"/>
              <a:gd name="connsiteY26" fmla="*/ 911515 h 2314959"/>
              <a:gd name="connsiteX27" fmla="*/ 965773 w 2307815"/>
              <a:gd name="connsiteY27" fmla="*/ 911515 h 2314959"/>
              <a:gd name="connsiteX28" fmla="*/ 929602 w 2307815"/>
              <a:gd name="connsiteY28" fmla="*/ 947686 h 2314959"/>
              <a:gd name="connsiteX29" fmla="*/ 929602 w 2307815"/>
              <a:gd name="connsiteY29" fmla="*/ 1360038 h 2314959"/>
              <a:gd name="connsiteX30" fmla="*/ 965773 w 2307815"/>
              <a:gd name="connsiteY30" fmla="*/ 1396209 h 2314959"/>
              <a:gd name="connsiteX31" fmla="*/ 1341953 w 2307815"/>
              <a:gd name="connsiteY31" fmla="*/ 1396209 h 2314959"/>
              <a:gd name="connsiteX32" fmla="*/ 1378125 w 2307815"/>
              <a:gd name="connsiteY32" fmla="*/ 1360038 h 2314959"/>
              <a:gd name="connsiteX33" fmla="*/ 1378125 w 2307815"/>
              <a:gd name="connsiteY33" fmla="*/ 947686 h 2314959"/>
              <a:gd name="connsiteX34" fmla="*/ 1341953 w 2307815"/>
              <a:gd name="connsiteY34" fmla="*/ 911515 h 2314959"/>
              <a:gd name="connsiteX35" fmla="*/ 495546 w 2307815"/>
              <a:gd name="connsiteY35" fmla="*/ 911515 h 2314959"/>
              <a:gd name="connsiteX36" fmla="*/ 444906 w 2307815"/>
              <a:gd name="connsiteY36" fmla="*/ 962155 h 2314959"/>
              <a:gd name="connsiteX37" fmla="*/ 444906 w 2307815"/>
              <a:gd name="connsiteY37" fmla="*/ 1345570 h 2314959"/>
              <a:gd name="connsiteX38" fmla="*/ 495546 w 2307815"/>
              <a:gd name="connsiteY38" fmla="*/ 1396209 h 2314959"/>
              <a:gd name="connsiteX39" fmla="*/ 546186 w 2307815"/>
              <a:gd name="connsiteY39" fmla="*/ 1345570 h 2314959"/>
              <a:gd name="connsiteX40" fmla="*/ 546186 w 2307815"/>
              <a:gd name="connsiteY40" fmla="*/ 962155 h 2314959"/>
              <a:gd name="connsiteX41" fmla="*/ 495546 w 2307815"/>
              <a:gd name="connsiteY41" fmla="*/ 911515 h 2314959"/>
              <a:gd name="connsiteX42" fmla="*/ 1063435 w 2307815"/>
              <a:gd name="connsiteY42" fmla="*/ 734276 h 2314959"/>
              <a:gd name="connsiteX43" fmla="*/ 1063435 w 2307815"/>
              <a:gd name="connsiteY43" fmla="*/ 835555 h 2314959"/>
              <a:gd name="connsiteX44" fmla="*/ 1244291 w 2307815"/>
              <a:gd name="connsiteY44" fmla="*/ 835555 h 2314959"/>
              <a:gd name="connsiteX45" fmla="*/ 1244291 w 2307815"/>
              <a:gd name="connsiteY45" fmla="*/ 734276 h 2314959"/>
              <a:gd name="connsiteX46" fmla="*/ 878962 w 2307815"/>
              <a:gd name="connsiteY46" fmla="*/ 180856 h 2314959"/>
              <a:gd name="connsiteX47" fmla="*/ 1077904 w 2307815"/>
              <a:gd name="connsiteY47" fmla="*/ 434055 h 2314959"/>
              <a:gd name="connsiteX48" fmla="*/ 1237057 w 2307815"/>
              <a:gd name="connsiteY48" fmla="*/ 434055 h 2314959"/>
              <a:gd name="connsiteX49" fmla="*/ 1432381 w 2307815"/>
              <a:gd name="connsiteY49" fmla="*/ 180856 h 2314959"/>
              <a:gd name="connsiteX50" fmla="*/ 1153863 w 2307815"/>
              <a:gd name="connsiteY50" fmla="*/ 0 h 2314959"/>
              <a:gd name="connsiteX51" fmla="*/ 1190034 w 2307815"/>
              <a:gd name="connsiteY51" fmla="*/ 36172 h 2314959"/>
              <a:gd name="connsiteX52" fmla="*/ 1190034 w 2307815"/>
              <a:gd name="connsiteY52" fmla="*/ 108514 h 2314959"/>
              <a:gd name="connsiteX53" fmla="*/ 1577066 w 2307815"/>
              <a:gd name="connsiteY53" fmla="*/ 108514 h 2314959"/>
              <a:gd name="connsiteX54" fmla="*/ 1613238 w 2307815"/>
              <a:gd name="connsiteY54" fmla="*/ 144685 h 2314959"/>
              <a:gd name="connsiteX55" fmla="*/ 1577066 w 2307815"/>
              <a:gd name="connsiteY55" fmla="*/ 180856 h 2314959"/>
              <a:gd name="connsiteX56" fmla="*/ 1522810 w 2307815"/>
              <a:gd name="connsiteY56" fmla="*/ 180856 h 2314959"/>
              <a:gd name="connsiteX57" fmla="*/ 1280462 w 2307815"/>
              <a:gd name="connsiteY57" fmla="*/ 491929 h 2314959"/>
              <a:gd name="connsiteX58" fmla="*/ 1251525 w 2307815"/>
              <a:gd name="connsiteY58" fmla="*/ 506397 h 2314959"/>
              <a:gd name="connsiteX59" fmla="*/ 1190034 w 2307815"/>
              <a:gd name="connsiteY59" fmla="*/ 506397 h 2314959"/>
              <a:gd name="connsiteX60" fmla="*/ 1190034 w 2307815"/>
              <a:gd name="connsiteY60" fmla="*/ 661934 h 2314959"/>
              <a:gd name="connsiteX61" fmla="*/ 1247908 w 2307815"/>
              <a:gd name="connsiteY61" fmla="*/ 661934 h 2314959"/>
              <a:gd name="connsiteX62" fmla="*/ 1320251 w 2307815"/>
              <a:gd name="connsiteY62" fmla="*/ 734276 h 2314959"/>
              <a:gd name="connsiteX63" fmla="*/ 1320251 w 2307815"/>
              <a:gd name="connsiteY63" fmla="*/ 839173 h 2314959"/>
              <a:gd name="connsiteX64" fmla="*/ 1345571 w 2307815"/>
              <a:gd name="connsiteY64" fmla="*/ 839173 h 2314959"/>
              <a:gd name="connsiteX65" fmla="*/ 1454084 w 2307815"/>
              <a:gd name="connsiteY65" fmla="*/ 947686 h 2314959"/>
              <a:gd name="connsiteX66" fmla="*/ 1454084 w 2307815"/>
              <a:gd name="connsiteY66" fmla="*/ 965772 h 2314959"/>
              <a:gd name="connsiteX67" fmla="*/ 1689197 w 2307815"/>
              <a:gd name="connsiteY67" fmla="*/ 965772 h 2314959"/>
              <a:gd name="connsiteX68" fmla="*/ 1689197 w 2307815"/>
              <a:gd name="connsiteY68" fmla="*/ 962155 h 2314959"/>
              <a:gd name="connsiteX69" fmla="*/ 1812179 w 2307815"/>
              <a:gd name="connsiteY69" fmla="*/ 839173 h 2314959"/>
              <a:gd name="connsiteX70" fmla="*/ 1935161 w 2307815"/>
              <a:gd name="connsiteY70" fmla="*/ 962155 h 2314959"/>
              <a:gd name="connsiteX71" fmla="*/ 1935161 w 2307815"/>
              <a:gd name="connsiteY71" fmla="*/ 1027263 h 2314959"/>
              <a:gd name="connsiteX72" fmla="*/ 2079846 w 2307815"/>
              <a:gd name="connsiteY72" fmla="*/ 1027263 h 2314959"/>
              <a:gd name="connsiteX73" fmla="*/ 2307725 w 2307815"/>
              <a:gd name="connsiteY73" fmla="*/ 1258759 h 2314959"/>
              <a:gd name="connsiteX74" fmla="*/ 2307725 w 2307815"/>
              <a:gd name="connsiteY74" fmla="*/ 2278788 h 2314959"/>
              <a:gd name="connsiteX75" fmla="*/ 2271554 w 2307815"/>
              <a:gd name="connsiteY75" fmla="*/ 2314959 h 2314959"/>
              <a:gd name="connsiteX76" fmla="*/ 2235382 w 2307815"/>
              <a:gd name="connsiteY76" fmla="*/ 2278788 h 2314959"/>
              <a:gd name="connsiteX77" fmla="*/ 2235382 w 2307815"/>
              <a:gd name="connsiteY77" fmla="*/ 1258759 h 2314959"/>
              <a:gd name="connsiteX78" fmla="*/ 2076229 w 2307815"/>
              <a:gd name="connsiteY78" fmla="*/ 1099605 h 2314959"/>
              <a:gd name="connsiteX79" fmla="*/ 1931544 w 2307815"/>
              <a:gd name="connsiteY79" fmla="*/ 1099605 h 2314959"/>
              <a:gd name="connsiteX80" fmla="*/ 1931544 w 2307815"/>
              <a:gd name="connsiteY80" fmla="*/ 1204502 h 2314959"/>
              <a:gd name="connsiteX81" fmla="*/ 2076229 w 2307815"/>
              <a:gd name="connsiteY81" fmla="*/ 1204502 h 2314959"/>
              <a:gd name="connsiteX82" fmla="*/ 2130486 w 2307815"/>
              <a:gd name="connsiteY82" fmla="*/ 1258759 h 2314959"/>
              <a:gd name="connsiteX83" fmla="*/ 2130486 w 2307815"/>
              <a:gd name="connsiteY83" fmla="*/ 2278788 h 2314959"/>
              <a:gd name="connsiteX84" fmla="*/ 2094315 w 2307815"/>
              <a:gd name="connsiteY84" fmla="*/ 2314959 h 2314959"/>
              <a:gd name="connsiteX85" fmla="*/ 2058143 w 2307815"/>
              <a:gd name="connsiteY85" fmla="*/ 2278788 h 2314959"/>
              <a:gd name="connsiteX86" fmla="*/ 2058143 w 2307815"/>
              <a:gd name="connsiteY86" fmla="*/ 1276844 h 2314959"/>
              <a:gd name="connsiteX87" fmla="*/ 1931544 w 2307815"/>
              <a:gd name="connsiteY87" fmla="*/ 1276844 h 2314959"/>
              <a:gd name="connsiteX88" fmla="*/ 1931544 w 2307815"/>
              <a:gd name="connsiteY88" fmla="*/ 1345570 h 2314959"/>
              <a:gd name="connsiteX89" fmla="*/ 1808562 w 2307815"/>
              <a:gd name="connsiteY89" fmla="*/ 1468552 h 2314959"/>
              <a:gd name="connsiteX90" fmla="*/ 1685580 w 2307815"/>
              <a:gd name="connsiteY90" fmla="*/ 1345570 h 2314959"/>
              <a:gd name="connsiteX91" fmla="*/ 1685580 w 2307815"/>
              <a:gd name="connsiteY91" fmla="*/ 1341952 h 2314959"/>
              <a:gd name="connsiteX92" fmla="*/ 1450467 w 2307815"/>
              <a:gd name="connsiteY92" fmla="*/ 1341952 h 2314959"/>
              <a:gd name="connsiteX93" fmla="*/ 1450467 w 2307815"/>
              <a:gd name="connsiteY93" fmla="*/ 1360038 h 2314959"/>
              <a:gd name="connsiteX94" fmla="*/ 1341953 w 2307815"/>
              <a:gd name="connsiteY94" fmla="*/ 1468552 h 2314959"/>
              <a:gd name="connsiteX95" fmla="*/ 965773 w 2307815"/>
              <a:gd name="connsiteY95" fmla="*/ 1468552 h 2314959"/>
              <a:gd name="connsiteX96" fmla="*/ 857258 w 2307815"/>
              <a:gd name="connsiteY96" fmla="*/ 1360038 h 2314959"/>
              <a:gd name="connsiteX97" fmla="*/ 857258 w 2307815"/>
              <a:gd name="connsiteY97" fmla="*/ 1341952 h 2314959"/>
              <a:gd name="connsiteX98" fmla="*/ 622145 w 2307815"/>
              <a:gd name="connsiteY98" fmla="*/ 1341952 h 2314959"/>
              <a:gd name="connsiteX99" fmla="*/ 622145 w 2307815"/>
              <a:gd name="connsiteY99" fmla="*/ 1345570 h 2314959"/>
              <a:gd name="connsiteX100" fmla="*/ 499163 w 2307815"/>
              <a:gd name="connsiteY100" fmla="*/ 1468552 h 2314959"/>
              <a:gd name="connsiteX101" fmla="*/ 376181 w 2307815"/>
              <a:gd name="connsiteY101" fmla="*/ 1345570 h 2314959"/>
              <a:gd name="connsiteX102" fmla="*/ 376181 w 2307815"/>
              <a:gd name="connsiteY102" fmla="*/ 1276844 h 2314959"/>
              <a:gd name="connsiteX103" fmla="*/ 249582 w 2307815"/>
              <a:gd name="connsiteY103" fmla="*/ 1276844 h 2314959"/>
              <a:gd name="connsiteX104" fmla="*/ 249582 w 2307815"/>
              <a:gd name="connsiteY104" fmla="*/ 2278788 h 2314959"/>
              <a:gd name="connsiteX105" fmla="*/ 213411 w 2307815"/>
              <a:gd name="connsiteY105" fmla="*/ 2314959 h 2314959"/>
              <a:gd name="connsiteX106" fmla="*/ 177239 w 2307815"/>
              <a:gd name="connsiteY106" fmla="*/ 2278788 h 2314959"/>
              <a:gd name="connsiteX107" fmla="*/ 177239 w 2307815"/>
              <a:gd name="connsiteY107" fmla="*/ 1258759 h 2314959"/>
              <a:gd name="connsiteX108" fmla="*/ 231496 w 2307815"/>
              <a:gd name="connsiteY108" fmla="*/ 1204502 h 2314959"/>
              <a:gd name="connsiteX109" fmla="*/ 376181 w 2307815"/>
              <a:gd name="connsiteY109" fmla="*/ 1204502 h 2314959"/>
              <a:gd name="connsiteX110" fmla="*/ 376181 w 2307815"/>
              <a:gd name="connsiteY110" fmla="*/ 1099605 h 2314959"/>
              <a:gd name="connsiteX111" fmla="*/ 231496 w 2307815"/>
              <a:gd name="connsiteY111" fmla="*/ 1099605 h 2314959"/>
              <a:gd name="connsiteX112" fmla="*/ 72343 w 2307815"/>
              <a:gd name="connsiteY112" fmla="*/ 1258759 h 2314959"/>
              <a:gd name="connsiteX113" fmla="*/ 72343 w 2307815"/>
              <a:gd name="connsiteY113" fmla="*/ 2278788 h 2314959"/>
              <a:gd name="connsiteX114" fmla="*/ 36172 w 2307815"/>
              <a:gd name="connsiteY114" fmla="*/ 2314959 h 2314959"/>
              <a:gd name="connsiteX115" fmla="*/ 0 w 2307815"/>
              <a:gd name="connsiteY115" fmla="*/ 2278788 h 2314959"/>
              <a:gd name="connsiteX116" fmla="*/ 0 w 2307815"/>
              <a:gd name="connsiteY116" fmla="*/ 1258759 h 2314959"/>
              <a:gd name="connsiteX117" fmla="*/ 231496 w 2307815"/>
              <a:gd name="connsiteY117" fmla="*/ 1027263 h 2314959"/>
              <a:gd name="connsiteX118" fmla="*/ 376181 w 2307815"/>
              <a:gd name="connsiteY118" fmla="*/ 1027263 h 2314959"/>
              <a:gd name="connsiteX119" fmla="*/ 376181 w 2307815"/>
              <a:gd name="connsiteY119" fmla="*/ 962155 h 2314959"/>
              <a:gd name="connsiteX120" fmla="*/ 499163 w 2307815"/>
              <a:gd name="connsiteY120" fmla="*/ 839173 h 2314959"/>
              <a:gd name="connsiteX121" fmla="*/ 622145 w 2307815"/>
              <a:gd name="connsiteY121" fmla="*/ 962155 h 2314959"/>
              <a:gd name="connsiteX122" fmla="*/ 622145 w 2307815"/>
              <a:gd name="connsiteY122" fmla="*/ 965772 h 2314959"/>
              <a:gd name="connsiteX123" fmla="*/ 857258 w 2307815"/>
              <a:gd name="connsiteY123" fmla="*/ 965772 h 2314959"/>
              <a:gd name="connsiteX124" fmla="*/ 857258 w 2307815"/>
              <a:gd name="connsiteY124" fmla="*/ 947686 h 2314959"/>
              <a:gd name="connsiteX125" fmla="*/ 965773 w 2307815"/>
              <a:gd name="connsiteY125" fmla="*/ 839173 h 2314959"/>
              <a:gd name="connsiteX126" fmla="*/ 991093 w 2307815"/>
              <a:gd name="connsiteY126" fmla="*/ 839173 h 2314959"/>
              <a:gd name="connsiteX127" fmla="*/ 991093 w 2307815"/>
              <a:gd name="connsiteY127" fmla="*/ 734276 h 2314959"/>
              <a:gd name="connsiteX128" fmla="*/ 1063435 w 2307815"/>
              <a:gd name="connsiteY128" fmla="*/ 661934 h 2314959"/>
              <a:gd name="connsiteX129" fmla="*/ 1117692 w 2307815"/>
              <a:gd name="connsiteY129" fmla="*/ 661934 h 2314959"/>
              <a:gd name="connsiteX130" fmla="*/ 1117692 w 2307815"/>
              <a:gd name="connsiteY130" fmla="*/ 506397 h 2314959"/>
              <a:gd name="connsiteX131" fmla="*/ 1056201 w 2307815"/>
              <a:gd name="connsiteY131" fmla="*/ 506397 h 2314959"/>
              <a:gd name="connsiteX132" fmla="*/ 1027264 w 2307815"/>
              <a:gd name="connsiteY132" fmla="*/ 491929 h 2314959"/>
              <a:gd name="connsiteX133" fmla="*/ 784916 w 2307815"/>
              <a:gd name="connsiteY133" fmla="*/ 180856 h 2314959"/>
              <a:gd name="connsiteX134" fmla="*/ 730659 w 2307815"/>
              <a:gd name="connsiteY134" fmla="*/ 180856 h 2314959"/>
              <a:gd name="connsiteX135" fmla="*/ 694488 w 2307815"/>
              <a:gd name="connsiteY135" fmla="*/ 144685 h 2314959"/>
              <a:gd name="connsiteX136" fmla="*/ 730659 w 2307815"/>
              <a:gd name="connsiteY136" fmla="*/ 108514 h 2314959"/>
              <a:gd name="connsiteX137" fmla="*/ 1117692 w 2307815"/>
              <a:gd name="connsiteY137" fmla="*/ 108514 h 2314959"/>
              <a:gd name="connsiteX138" fmla="*/ 1117692 w 2307815"/>
              <a:gd name="connsiteY138" fmla="*/ 36172 h 2314959"/>
              <a:gd name="connsiteX139" fmla="*/ 1153863 w 2307815"/>
              <a:gd name="connsiteY139" fmla="*/ 0 h 231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307815" h="2314959">
                <a:moveTo>
                  <a:pt x="1153862" y="1660259"/>
                </a:moveTo>
                <a:cubicBezTo>
                  <a:pt x="1081520" y="1768772"/>
                  <a:pt x="958538" y="1964098"/>
                  <a:pt x="958538" y="2047291"/>
                </a:cubicBezTo>
                <a:cubicBezTo>
                  <a:pt x="958538" y="2155805"/>
                  <a:pt x="1045349" y="2242616"/>
                  <a:pt x="1153862" y="2242616"/>
                </a:cubicBezTo>
                <a:cubicBezTo>
                  <a:pt x="1262376" y="2242616"/>
                  <a:pt x="1349187" y="2155805"/>
                  <a:pt x="1349187" y="2047291"/>
                </a:cubicBezTo>
                <a:cubicBezTo>
                  <a:pt x="1349187" y="1964098"/>
                  <a:pt x="1226205" y="1768772"/>
                  <a:pt x="1153862" y="1660259"/>
                </a:cubicBezTo>
                <a:close/>
                <a:moveTo>
                  <a:pt x="1153863" y="1563501"/>
                </a:moveTo>
                <a:cubicBezTo>
                  <a:pt x="1164714" y="1563501"/>
                  <a:pt x="1175565" y="1568022"/>
                  <a:pt x="1182799" y="1577065"/>
                </a:cubicBezTo>
                <a:cubicBezTo>
                  <a:pt x="1208119" y="1609619"/>
                  <a:pt x="1421529" y="1909841"/>
                  <a:pt x="1421529" y="2047291"/>
                </a:cubicBezTo>
                <a:cubicBezTo>
                  <a:pt x="1421529" y="2195593"/>
                  <a:pt x="1302164" y="2314958"/>
                  <a:pt x="1153862" y="2314958"/>
                </a:cubicBezTo>
                <a:cubicBezTo>
                  <a:pt x="1005560" y="2314958"/>
                  <a:pt x="886195" y="2195593"/>
                  <a:pt x="886195" y="2047291"/>
                </a:cubicBezTo>
                <a:cubicBezTo>
                  <a:pt x="886195" y="1909841"/>
                  <a:pt x="1099606" y="1609619"/>
                  <a:pt x="1124925" y="1577065"/>
                </a:cubicBezTo>
                <a:cubicBezTo>
                  <a:pt x="1132160" y="1568022"/>
                  <a:pt x="1143011" y="1563501"/>
                  <a:pt x="1153863" y="1563501"/>
                </a:cubicBezTo>
                <a:close/>
                <a:moveTo>
                  <a:pt x="1450467" y="1041731"/>
                </a:moveTo>
                <a:lnTo>
                  <a:pt x="1450467" y="1269610"/>
                </a:lnTo>
                <a:lnTo>
                  <a:pt x="1685580" y="1269610"/>
                </a:lnTo>
                <a:lnTo>
                  <a:pt x="1685580" y="1041731"/>
                </a:lnTo>
                <a:close/>
                <a:moveTo>
                  <a:pt x="618528" y="1041731"/>
                </a:moveTo>
                <a:lnTo>
                  <a:pt x="618528" y="1269610"/>
                </a:lnTo>
                <a:lnTo>
                  <a:pt x="853641" y="1269610"/>
                </a:lnTo>
                <a:lnTo>
                  <a:pt x="853641" y="1041731"/>
                </a:lnTo>
                <a:close/>
                <a:moveTo>
                  <a:pt x="1812179" y="911515"/>
                </a:moveTo>
                <a:cubicBezTo>
                  <a:pt x="1783242" y="911515"/>
                  <a:pt x="1761539" y="933218"/>
                  <a:pt x="1761539" y="962155"/>
                </a:cubicBezTo>
                <a:cubicBezTo>
                  <a:pt x="1761539" y="951303"/>
                  <a:pt x="1761539" y="1338335"/>
                  <a:pt x="1761539" y="1345570"/>
                </a:cubicBezTo>
                <a:cubicBezTo>
                  <a:pt x="1761539" y="1374507"/>
                  <a:pt x="1783242" y="1396209"/>
                  <a:pt x="1812179" y="1396209"/>
                </a:cubicBezTo>
                <a:cubicBezTo>
                  <a:pt x="1837499" y="1396209"/>
                  <a:pt x="1862819" y="1374507"/>
                  <a:pt x="1862819" y="1345570"/>
                </a:cubicBezTo>
                <a:cubicBezTo>
                  <a:pt x="1862819" y="1099605"/>
                  <a:pt x="1862819" y="1182799"/>
                  <a:pt x="1862819" y="962155"/>
                </a:cubicBezTo>
                <a:cubicBezTo>
                  <a:pt x="1862819" y="933218"/>
                  <a:pt x="1841116" y="911515"/>
                  <a:pt x="1812179" y="911515"/>
                </a:cubicBezTo>
                <a:close/>
                <a:moveTo>
                  <a:pt x="965773" y="911515"/>
                </a:moveTo>
                <a:cubicBezTo>
                  <a:pt x="944070" y="911515"/>
                  <a:pt x="929602" y="925983"/>
                  <a:pt x="929602" y="947686"/>
                </a:cubicBezTo>
                <a:cubicBezTo>
                  <a:pt x="929602" y="944069"/>
                  <a:pt x="929602" y="1349187"/>
                  <a:pt x="929602" y="1360038"/>
                </a:cubicBezTo>
                <a:cubicBezTo>
                  <a:pt x="929602" y="1381741"/>
                  <a:pt x="944070" y="1396209"/>
                  <a:pt x="965773" y="1396209"/>
                </a:cubicBezTo>
                <a:lnTo>
                  <a:pt x="1341953" y="1396209"/>
                </a:lnTo>
                <a:cubicBezTo>
                  <a:pt x="1363656" y="1396209"/>
                  <a:pt x="1378125" y="1381741"/>
                  <a:pt x="1378125" y="1360038"/>
                </a:cubicBezTo>
                <a:cubicBezTo>
                  <a:pt x="1378125" y="1255142"/>
                  <a:pt x="1378125" y="1052583"/>
                  <a:pt x="1378125" y="947686"/>
                </a:cubicBezTo>
                <a:cubicBezTo>
                  <a:pt x="1378125" y="925983"/>
                  <a:pt x="1363656" y="911515"/>
                  <a:pt x="1341953" y="911515"/>
                </a:cubicBezTo>
                <a:close/>
                <a:moveTo>
                  <a:pt x="495546" y="911515"/>
                </a:moveTo>
                <a:cubicBezTo>
                  <a:pt x="466609" y="911515"/>
                  <a:pt x="444906" y="933218"/>
                  <a:pt x="444906" y="962155"/>
                </a:cubicBezTo>
                <a:cubicBezTo>
                  <a:pt x="444906" y="958538"/>
                  <a:pt x="444906" y="1338335"/>
                  <a:pt x="444906" y="1345570"/>
                </a:cubicBezTo>
                <a:cubicBezTo>
                  <a:pt x="444906" y="1374507"/>
                  <a:pt x="466609" y="1396209"/>
                  <a:pt x="495546" y="1396209"/>
                </a:cubicBezTo>
                <a:cubicBezTo>
                  <a:pt x="524483" y="1396209"/>
                  <a:pt x="546186" y="1374507"/>
                  <a:pt x="546186" y="1345570"/>
                </a:cubicBezTo>
                <a:cubicBezTo>
                  <a:pt x="546186" y="1222587"/>
                  <a:pt x="546186" y="1124925"/>
                  <a:pt x="546186" y="962155"/>
                </a:cubicBezTo>
                <a:cubicBezTo>
                  <a:pt x="546186" y="933218"/>
                  <a:pt x="524483" y="911515"/>
                  <a:pt x="495546" y="911515"/>
                </a:cubicBezTo>
                <a:close/>
                <a:moveTo>
                  <a:pt x="1063435" y="734276"/>
                </a:moveTo>
                <a:lnTo>
                  <a:pt x="1063435" y="835555"/>
                </a:lnTo>
                <a:lnTo>
                  <a:pt x="1244291" y="835555"/>
                </a:lnTo>
                <a:lnTo>
                  <a:pt x="1244291" y="734276"/>
                </a:lnTo>
                <a:close/>
                <a:moveTo>
                  <a:pt x="878962" y="180856"/>
                </a:moveTo>
                <a:lnTo>
                  <a:pt x="1077904" y="434055"/>
                </a:lnTo>
                <a:lnTo>
                  <a:pt x="1237057" y="434055"/>
                </a:lnTo>
                <a:lnTo>
                  <a:pt x="1432381" y="180856"/>
                </a:lnTo>
                <a:close/>
                <a:moveTo>
                  <a:pt x="1153863" y="0"/>
                </a:moveTo>
                <a:cubicBezTo>
                  <a:pt x="1175566" y="0"/>
                  <a:pt x="1190034" y="14469"/>
                  <a:pt x="1190034" y="36172"/>
                </a:cubicBezTo>
                <a:lnTo>
                  <a:pt x="1190034" y="108514"/>
                </a:lnTo>
                <a:cubicBezTo>
                  <a:pt x="1425147" y="108514"/>
                  <a:pt x="1443233" y="108514"/>
                  <a:pt x="1577066" y="108514"/>
                </a:cubicBezTo>
                <a:cubicBezTo>
                  <a:pt x="1598769" y="108514"/>
                  <a:pt x="1613238" y="122983"/>
                  <a:pt x="1613238" y="144685"/>
                </a:cubicBezTo>
                <a:cubicBezTo>
                  <a:pt x="1613238" y="166388"/>
                  <a:pt x="1598769" y="180856"/>
                  <a:pt x="1577066" y="180856"/>
                </a:cubicBezTo>
                <a:lnTo>
                  <a:pt x="1522810" y="180856"/>
                </a:lnTo>
                <a:lnTo>
                  <a:pt x="1280462" y="491929"/>
                </a:lnTo>
                <a:cubicBezTo>
                  <a:pt x="1273228" y="502780"/>
                  <a:pt x="1262377" y="506397"/>
                  <a:pt x="1251525" y="506397"/>
                </a:cubicBezTo>
                <a:lnTo>
                  <a:pt x="1190034" y="506397"/>
                </a:lnTo>
                <a:lnTo>
                  <a:pt x="1190034" y="661934"/>
                </a:lnTo>
                <a:lnTo>
                  <a:pt x="1247908" y="661934"/>
                </a:lnTo>
                <a:cubicBezTo>
                  <a:pt x="1287697" y="661934"/>
                  <a:pt x="1320251" y="694488"/>
                  <a:pt x="1320251" y="734276"/>
                </a:cubicBezTo>
                <a:lnTo>
                  <a:pt x="1320251" y="839173"/>
                </a:lnTo>
                <a:lnTo>
                  <a:pt x="1345571" y="839173"/>
                </a:lnTo>
                <a:cubicBezTo>
                  <a:pt x="1407062" y="839173"/>
                  <a:pt x="1454084" y="886195"/>
                  <a:pt x="1454084" y="947686"/>
                </a:cubicBezTo>
                <a:lnTo>
                  <a:pt x="1454084" y="965772"/>
                </a:lnTo>
                <a:lnTo>
                  <a:pt x="1689197" y="965772"/>
                </a:lnTo>
                <a:lnTo>
                  <a:pt x="1689197" y="962155"/>
                </a:lnTo>
                <a:cubicBezTo>
                  <a:pt x="1689197" y="893429"/>
                  <a:pt x="1743454" y="839173"/>
                  <a:pt x="1812179" y="839173"/>
                </a:cubicBezTo>
                <a:cubicBezTo>
                  <a:pt x="1880904" y="839173"/>
                  <a:pt x="1935161" y="893429"/>
                  <a:pt x="1935161" y="962155"/>
                </a:cubicBezTo>
                <a:lnTo>
                  <a:pt x="1935161" y="1027263"/>
                </a:lnTo>
                <a:lnTo>
                  <a:pt x="2079846" y="1027263"/>
                </a:lnTo>
                <a:cubicBezTo>
                  <a:pt x="2206445" y="1027263"/>
                  <a:pt x="2311342" y="1132159"/>
                  <a:pt x="2307725" y="1258759"/>
                </a:cubicBezTo>
                <a:lnTo>
                  <a:pt x="2307725" y="2278788"/>
                </a:lnTo>
                <a:cubicBezTo>
                  <a:pt x="2307725" y="2300491"/>
                  <a:pt x="2293256" y="2314959"/>
                  <a:pt x="2271554" y="2314959"/>
                </a:cubicBezTo>
                <a:cubicBezTo>
                  <a:pt x="2249851" y="2314959"/>
                  <a:pt x="2235382" y="2300491"/>
                  <a:pt x="2235382" y="2278788"/>
                </a:cubicBezTo>
                <a:lnTo>
                  <a:pt x="2235382" y="1258759"/>
                </a:lnTo>
                <a:cubicBezTo>
                  <a:pt x="2235382" y="1171948"/>
                  <a:pt x="2163040" y="1099605"/>
                  <a:pt x="2076229" y="1099605"/>
                </a:cubicBezTo>
                <a:lnTo>
                  <a:pt x="1931544" y="1099605"/>
                </a:lnTo>
                <a:lnTo>
                  <a:pt x="1931544" y="1204502"/>
                </a:lnTo>
                <a:lnTo>
                  <a:pt x="2076229" y="1204502"/>
                </a:lnTo>
                <a:cubicBezTo>
                  <a:pt x="2105166" y="1204502"/>
                  <a:pt x="2130486" y="1229822"/>
                  <a:pt x="2130486" y="1258759"/>
                </a:cubicBezTo>
                <a:lnTo>
                  <a:pt x="2130486" y="2278788"/>
                </a:lnTo>
                <a:cubicBezTo>
                  <a:pt x="2130486" y="2300491"/>
                  <a:pt x="2116017" y="2314959"/>
                  <a:pt x="2094315" y="2314959"/>
                </a:cubicBezTo>
                <a:cubicBezTo>
                  <a:pt x="2072612" y="2314959"/>
                  <a:pt x="2058143" y="2300491"/>
                  <a:pt x="2058143" y="2278788"/>
                </a:cubicBezTo>
                <a:lnTo>
                  <a:pt x="2058143" y="1276844"/>
                </a:lnTo>
                <a:lnTo>
                  <a:pt x="1931544" y="1276844"/>
                </a:lnTo>
                <a:lnTo>
                  <a:pt x="1931544" y="1345570"/>
                </a:lnTo>
                <a:cubicBezTo>
                  <a:pt x="1931544" y="1414295"/>
                  <a:pt x="1877287" y="1468552"/>
                  <a:pt x="1808562" y="1468552"/>
                </a:cubicBezTo>
                <a:cubicBezTo>
                  <a:pt x="1739837" y="1468552"/>
                  <a:pt x="1685580" y="1414295"/>
                  <a:pt x="1685580" y="1345570"/>
                </a:cubicBezTo>
                <a:lnTo>
                  <a:pt x="1685580" y="1341952"/>
                </a:lnTo>
                <a:lnTo>
                  <a:pt x="1450467" y="1341952"/>
                </a:lnTo>
                <a:lnTo>
                  <a:pt x="1450467" y="1360038"/>
                </a:lnTo>
                <a:cubicBezTo>
                  <a:pt x="1450467" y="1421529"/>
                  <a:pt x="1403445" y="1468552"/>
                  <a:pt x="1341953" y="1468552"/>
                </a:cubicBezTo>
                <a:lnTo>
                  <a:pt x="965773" y="1468552"/>
                </a:lnTo>
                <a:cubicBezTo>
                  <a:pt x="904282" y="1468552"/>
                  <a:pt x="857258" y="1421529"/>
                  <a:pt x="857258" y="1360038"/>
                </a:cubicBezTo>
                <a:lnTo>
                  <a:pt x="857258" y="1341952"/>
                </a:lnTo>
                <a:lnTo>
                  <a:pt x="622145" y="1341952"/>
                </a:lnTo>
                <a:lnTo>
                  <a:pt x="622145" y="1345570"/>
                </a:lnTo>
                <a:cubicBezTo>
                  <a:pt x="622145" y="1414295"/>
                  <a:pt x="567888" y="1468552"/>
                  <a:pt x="499163" y="1468552"/>
                </a:cubicBezTo>
                <a:cubicBezTo>
                  <a:pt x="430438" y="1468552"/>
                  <a:pt x="376181" y="1414295"/>
                  <a:pt x="376181" y="1345570"/>
                </a:cubicBezTo>
                <a:lnTo>
                  <a:pt x="376181" y="1276844"/>
                </a:lnTo>
                <a:lnTo>
                  <a:pt x="249582" y="1276844"/>
                </a:lnTo>
                <a:lnTo>
                  <a:pt x="249582" y="2278788"/>
                </a:lnTo>
                <a:cubicBezTo>
                  <a:pt x="249582" y="2300491"/>
                  <a:pt x="235113" y="2314959"/>
                  <a:pt x="213411" y="2314959"/>
                </a:cubicBezTo>
                <a:cubicBezTo>
                  <a:pt x="191708" y="2314959"/>
                  <a:pt x="177239" y="2300491"/>
                  <a:pt x="177239" y="2278788"/>
                </a:cubicBezTo>
                <a:lnTo>
                  <a:pt x="177239" y="1258759"/>
                </a:lnTo>
                <a:cubicBezTo>
                  <a:pt x="177239" y="1229822"/>
                  <a:pt x="202559" y="1204502"/>
                  <a:pt x="231496" y="1204502"/>
                </a:cubicBezTo>
                <a:lnTo>
                  <a:pt x="376181" y="1204502"/>
                </a:lnTo>
                <a:lnTo>
                  <a:pt x="376181" y="1099605"/>
                </a:lnTo>
                <a:lnTo>
                  <a:pt x="231496" y="1099605"/>
                </a:lnTo>
                <a:cubicBezTo>
                  <a:pt x="144685" y="1099605"/>
                  <a:pt x="72343" y="1171948"/>
                  <a:pt x="72343" y="1258759"/>
                </a:cubicBezTo>
                <a:lnTo>
                  <a:pt x="72343" y="2278788"/>
                </a:lnTo>
                <a:cubicBezTo>
                  <a:pt x="72343" y="2300491"/>
                  <a:pt x="57874" y="2314959"/>
                  <a:pt x="36172" y="2314959"/>
                </a:cubicBezTo>
                <a:cubicBezTo>
                  <a:pt x="14469" y="2314959"/>
                  <a:pt x="0" y="2300491"/>
                  <a:pt x="0" y="2278788"/>
                </a:cubicBezTo>
                <a:lnTo>
                  <a:pt x="0" y="1258759"/>
                </a:lnTo>
                <a:cubicBezTo>
                  <a:pt x="0" y="1132159"/>
                  <a:pt x="104897" y="1027263"/>
                  <a:pt x="231496" y="1027263"/>
                </a:cubicBezTo>
                <a:lnTo>
                  <a:pt x="376181" y="1027263"/>
                </a:lnTo>
                <a:lnTo>
                  <a:pt x="376181" y="962155"/>
                </a:lnTo>
                <a:cubicBezTo>
                  <a:pt x="376181" y="893429"/>
                  <a:pt x="430438" y="839173"/>
                  <a:pt x="499163" y="839173"/>
                </a:cubicBezTo>
                <a:cubicBezTo>
                  <a:pt x="567888" y="839173"/>
                  <a:pt x="622145" y="893429"/>
                  <a:pt x="622145" y="962155"/>
                </a:cubicBezTo>
                <a:lnTo>
                  <a:pt x="622145" y="965772"/>
                </a:lnTo>
                <a:lnTo>
                  <a:pt x="857258" y="965772"/>
                </a:lnTo>
                <a:lnTo>
                  <a:pt x="857258" y="947686"/>
                </a:lnTo>
                <a:cubicBezTo>
                  <a:pt x="857258" y="886195"/>
                  <a:pt x="904282" y="839173"/>
                  <a:pt x="965773" y="839173"/>
                </a:cubicBezTo>
                <a:lnTo>
                  <a:pt x="991093" y="839173"/>
                </a:lnTo>
                <a:lnTo>
                  <a:pt x="991093" y="734276"/>
                </a:lnTo>
                <a:cubicBezTo>
                  <a:pt x="991093" y="694488"/>
                  <a:pt x="1023647" y="661934"/>
                  <a:pt x="1063435" y="661934"/>
                </a:cubicBezTo>
                <a:lnTo>
                  <a:pt x="1117692" y="661934"/>
                </a:lnTo>
                <a:lnTo>
                  <a:pt x="1117692" y="506397"/>
                </a:lnTo>
                <a:lnTo>
                  <a:pt x="1056201" y="506397"/>
                </a:lnTo>
                <a:cubicBezTo>
                  <a:pt x="1045350" y="506397"/>
                  <a:pt x="1034498" y="499163"/>
                  <a:pt x="1027264" y="491929"/>
                </a:cubicBezTo>
                <a:lnTo>
                  <a:pt x="784916" y="180856"/>
                </a:lnTo>
                <a:lnTo>
                  <a:pt x="730659" y="180856"/>
                </a:lnTo>
                <a:cubicBezTo>
                  <a:pt x="708956" y="180856"/>
                  <a:pt x="694488" y="166388"/>
                  <a:pt x="694488" y="144685"/>
                </a:cubicBezTo>
                <a:cubicBezTo>
                  <a:pt x="694488" y="122983"/>
                  <a:pt x="708956" y="108514"/>
                  <a:pt x="730659" y="108514"/>
                </a:cubicBezTo>
                <a:cubicBezTo>
                  <a:pt x="864493" y="108514"/>
                  <a:pt x="878962" y="108514"/>
                  <a:pt x="1117692" y="108514"/>
                </a:cubicBezTo>
                <a:lnTo>
                  <a:pt x="1117692" y="36172"/>
                </a:lnTo>
                <a:cubicBezTo>
                  <a:pt x="1117692" y="14469"/>
                  <a:pt x="1132160" y="0"/>
                  <a:pt x="1153863" y="0"/>
                </a:cubicBezTo>
                <a:close/>
              </a:path>
            </a:pathLst>
          </a:custGeom>
          <a:solidFill>
            <a:schemeClr val="accent1"/>
          </a:solidFill>
          <a:ln w="0">
            <a:noFill/>
            <a:prstDash val="solid"/>
            <a:round/>
            <a:headEnd/>
            <a:tailEnd/>
          </a:ln>
        </p:spPr>
        <p:txBody>
          <a:bodyPr rtlCol="0" anchor="ctr"/>
          <a:lstStyle/>
          <a:p>
            <a:endParaRPr lang="en-US" sz="1056"/>
          </a:p>
        </p:txBody>
      </p:sp>
      <p:sp>
        <p:nvSpPr>
          <p:cNvPr id="88" name="RbNavigator">
            <a:extLst>
              <a:ext uri="{FF2B5EF4-FFF2-40B4-BE49-F238E27FC236}">
                <a16:creationId xmlns:a16="http://schemas.microsoft.com/office/drawing/2014/main" id="{1C2D73FD-AE2B-4083-8642-3A4042C49A00}"/>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89" name="RbSticker">
            <a:extLst>
              <a:ext uri="{FF2B5EF4-FFF2-40B4-BE49-F238E27FC236}">
                <a16:creationId xmlns:a16="http://schemas.microsoft.com/office/drawing/2014/main" id="{01058FB1-6961-44F6-BC03-DB0A344AAD15}"/>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Tree>
    <p:extLst>
      <p:ext uri="{BB962C8B-B14F-4D97-AF65-F5344CB8AC3E}">
        <p14:creationId xmlns:p14="http://schemas.microsoft.com/office/powerpoint/2010/main" val="186579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A80AFC35-0F85-4DF7-9A6F-289AB6EFCE37}"/>
              </a:ext>
            </a:extLst>
          </p:cNvPr>
          <p:cNvGraphicFramePr>
            <a:graphicFrameLocks noChangeAspect="1"/>
          </p:cNvGraphicFramePr>
          <p:nvPr>
            <p:custDataLst>
              <p:tags r:id="rId2"/>
            </p:custDataLst>
            <p:extLst>
              <p:ext uri="{D42A27DB-BD31-4B8C-83A1-F6EECF244321}">
                <p14:modId xmlns:p14="http://schemas.microsoft.com/office/powerpoint/2010/main" val="1340194535"/>
              </p:ext>
            </p:extLst>
          </p:nvPr>
        </p:nvGraphicFramePr>
        <p:xfrm>
          <a:off x="929980" y="644230"/>
          <a:ext cx="1289" cy="1289"/>
        </p:xfrm>
        <a:graphic>
          <a:graphicData uri="http://schemas.openxmlformats.org/presentationml/2006/ole">
            <mc:AlternateContent xmlns:mc="http://schemas.openxmlformats.org/markup-compatibility/2006">
              <mc:Choice xmlns:v="urn:schemas-microsoft-com:vml" Requires="v">
                <p:oleObj spid="_x0000_s25601" name="think-cell Slide" r:id="rId6" imgW="306" imgH="306" progId="TCLayout.ActiveDocument.1">
                  <p:embed/>
                </p:oleObj>
              </mc:Choice>
              <mc:Fallback>
                <p:oleObj name="think-cell Slide" r:id="rId6" imgW="306" imgH="306" progId="TCLayout.ActiveDocument.1">
                  <p:embed/>
                  <p:pic>
                    <p:nvPicPr>
                      <p:cNvPr id="51" name="Object 50" hidden="1">
                        <a:extLst>
                          <a:ext uri="{FF2B5EF4-FFF2-40B4-BE49-F238E27FC236}">
                            <a16:creationId xmlns:a16="http://schemas.microsoft.com/office/drawing/2014/main" id="{A80AFC35-0F85-4DF7-9A6F-289AB6EFCE37}"/>
                          </a:ext>
                        </a:extLst>
                      </p:cNvPr>
                      <p:cNvPicPr/>
                      <p:nvPr/>
                    </p:nvPicPr>
                    <p:blipFill>
                      <a:blip r:embed="rId7"/>
                      <a:stretch>
                        <a:fillRect/>
                      </a:stretch>
                    </p:blipFill>
                    <p:spPr>
                      <a:xfrm>
                        <a:off x="929980" y="644230"/>
                        <a:ext cx="1289" cy="1289"/>
                      </a:xfrm>
                      <a:prstGeom prst="rect">
                        <a:avLst/>
                      </a:prstGeom>
                    </p:spPr>
                  </p:pic>
                </p:oleObj>
              </mc:Fallback>
            </mc:AlternateContent>
          </a:graphicData>
        </a:graphic>
      </p:graphicFrame>
      <p:pic>
        <p:nvPicPr>
          <p:cNvPr id="52" name="Picture 4">
            <a:extLst>
              <a:ext uri="{FF2B5EF4-FFF2-40B4-BE49-F238E27FC236}">
                <a16:creationId xmlns:a16="http://schemas.microsoft.com/office/drawing/2014/main" id="{0ACD0EC1-332F-483A-BEC3-6472722BEF62}"/>
              </a:ext>
            </a:extLst>
          </p:cNvPr>
          <p:cNvPicPr>
            <a:picLocks noChangeAspect="1" noChangeArrowheads="1"/>
          </p:cNvPicPr>
          <p:nvPr/>
        </p:nvPicPr>
        <p:blipFill>
          <a:blip r:embed="rId8" cstate="print">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a:fillRect/>
          </a:stretch>
        </p:blipFill>
        <p:spPr bwMode="auto">
          <a:xfrm flipH="1">
            <a:off x="333933" y="2490564"/>
            <a:ext cx="9238134" cy="3065146"/>
          </a:xfrm>
          <a:prstGeom prst="rect">
            <a:avLst/>
          </a:prstGeom>
          <a:noFill/>
          <a:extLst>
            <a:ext uri="{909E8E84-426E-40DD-AFC4-6F175D3DCCD1}">
              <a14:hiddenFill xmlns:a14="http://schemas.microsoft.com/office/drawing/2010/main">
                <a:solidFill>
                  <a:srgbClr val="FFFFFF"/>
                </a:solidFill>
              </a14:hiddenFill>
            </a:ext>
          </a:extLst>
        </p:spPr>
      </p:pic>
      <p:cxnSp>
        <p:nvCxnSpPr>
          <p:cNvPr id="94" name="Straight Connector 93">
            <a:extLst>
              <a:ext uri="{FF2B5EF4-FFF2-40B4-BE49-F238E27FC236}">
                <a16:creationId xmlns:a16="http://schemas.microsoft.com/office/drawing/2014/main" id="{1A7C70DD-4601-4A11-95AC-BD197D523A18}"/>
              </a:ext>
            </a:extLst>
          </p:cNvPr>
          <p:cNvCxnSpPr>
            <a:cxnSpLocks/>
          </p:cNvCxnSpPr>
          <p:nvPr/>
        </p:nvCxnSpPr>
        <p:spPr>
          <a:xfrm flipV="1">
            <a:off x="2110139" y="2706742"/>
            <a:ext cx="1852261" cy="1"/>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3D0640E-CC23-4550-B87B-D9A7BA0E9822}"/>
              </a:ext>
            </a:extLst>
          </p:cNvPr>
          <p:cNvCxnSpPr>
            <a:cxnSpLocks/>
          </p:cNvCxnSpPr>
          <p:nvPr/>
        </p:nvCxnSpPr>
        <p:spPr>
          <a:xfrm>
            <a:off x="3209691" y="3482656"/>
            <a:ext cx="752709"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8436EF17-E5FD-469F-A6F1-B5AFE5EC2E4A}"/>
              </a:ext>
            </a:extLst>
          </p:cNvPr>
          <p:cNvSpPr/>
          <p:nvPr>
            <p:custDataLst>
              <p:tags r:id="rId3"/>
            </p:custDataLst>
          </p:nvPr>
        </p:nvSpPr>
        <p:spPr>
          <a:xfrm>
            <a:off x="928688" y="642938"/>
            <a:ext cx="128984" cy="128984"/>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519" b="0">
              <a:latin typeface="Arial Narrow" panose="020B0606020202030204" pitchFamily="34" charset="0"/>
              <a:ea typeface="+mj-ea"/>
              <a:cs typeface="+mj-cs"/>
              <a:sym typeface="Arial Narrow" panose="020B0606020202030204" pitchFamily="34" charset="0"/>
            </a:endParaRPr>
          </a:p>
        </p:txBody>
      </p:sp>
      <p:sp>
        <p:nvSpPr>
          <p:cNvPr id="86" name="Rectangle 85">
            <a:extLst>
              <a:ext uri="{FF2B5EF4-FFF2-40B4-BE49-F238E27FC236}">
                <a16:creationId xmlns:a16="http://schemas.microsoft.com/office/drawing/2014/main" id="{6BF38987-C80D-4898-ABFC-B6CEA666FB19}"/>
              </a:ext>
            </a:extLst>
          </p:cNvPr>
          <p:cNvSpPr>
            <a:spLocks/>
          </p:cNvSpPr>
          <p:nvPr/>
        </p:nvSpPr>
        <p:spPr>
          <a:xfrm>
            <a:off x="4800573" y="2450688"/>
            <a:ext cx="4869659" cy="553998"/>
          </a:xfrm>
          <a:prstGeom prst="rect">
            <a:avLst/>
          </a:prstGeom>
        </p:spPr>
        <p:txBody>
          <a:bodyPr wrap="square" lIns="0" tIns="0" rIns="0" bIns="0">
            <a:spAutoFit/>
          </a:bodyPr>
          <a:lstStyle/>
          <a:p>
            <a:pPr defTabSz="742876" fontAlgn="auto">
              <a:lnSpc>
                <a:spcPct val="90000"/>
              </a:lnSpc>
              <a:spcBef>
                <a:spcPts val="325"/>
              </a:spcBef>
              <a:buClr>
                <a:schemeClr val="accent1"/>
              </a:buClr>
            </a:pPr>
            <a:r>
              <a:rPr lang="en-US" sz="2000" b="0">
                <a:solidFill>
                  <a:schemeClr val="accent6"/>
                </a:solidFill>
                <a:ea typeface="Verdana" panose="020B0604030504040204" pitchFamily="34" charset="0"/>
                <a:cs typeface="Verdana" panose="020B0604030504040204" pitchFamily="34" charset="0"/>
              </a:rPr>
              <a:t>Improvements in conventional (fossil-based) power generation efficiency</a:t>
            </a:r>
          </a:p>
        </p:txBody>
      </p:sp>
      <p:sp>
        <p:nvSpPr>
          <p:cNvPr id="88" name="Rectangle 87">
            <a:extLst>
              <a:ext uri="{FF2B5EF4-FFF2-40B4-BE49-F238E27FC236}">
                <a16:creationId xmlns:a16="http://schemas.microsoft.com/office/drawing/2014/main" id="{46FEBB1B-D037-498A-8ED5-FF652297173D}"/>
              </a:ext>
            </a:extLst>
          </p:cNvPr>
          <p:cNvSpPr>
            <a:spLocks/>
          </p:cNvSpPr>
          <p:nvPr/>
        </p:nvSpPr>
        <p:spPr>
          <a:xfrm>
            <a:off x="4800573" y="4470405"/>
            <a:ext cx="4869659" cy="276999"/>
          </a:xfrm>
          <a:prstGeom prst="rect">
            <a:avLst/>
          </a:prstGeom>
        </p:spPr>
        <p:txBody>
          <a:bodyPr wrap="square" lIns="0" tIns="0" rIns="0" bIns="0">
            <a:spAutoFit/>
          </a:bodyPr>
          <a:lstStyle/>
          <a:p>
            <a:pPr>
              <a:lnSpc>
                <a:spcPct val="90000"/>
              </a:lnSpc>
              <a:spcBef>
                <a:spcPts val="325"/>
              </a:spcBef>
              <a:buSzPct val="100000"/>
            </a:pPr>
            <a:r>
              <a:rPr lang="en-US" sz="2000" b="0">
                <a:solidFill>
                  <a:schemeClr val="accent6"/>
                </a:solidFill>
              </a:rPr>
              <a:t>Large technical potential of renewables</a:t>
            </a:r>
            <a:endParaRPr lang="ru-RU" sz="2000" b="0">
              <a:solidFill>
                <a:srgbClr val="8D9399"/>
              </a:solidFill>
            </a:endParaRPr>
          </a:p>
        </p:txBody>
      </p:sp>
      <p:sp>
        <p:nvSpPr>
          <p:cNvPr id="89" name="Rectangle 88">
            <a:extLst>
              <a:ext uri="{FF2B5EF4-FFF2-40B4-BE49-F238E27FC236}">
                <a16:creationId xmlns:a16="http://schemas.microsoft.com/office/drawing/2014/main" id="{9CB84C45-8402-4772-90DA-89D0B053C216}"/>
              </a:ext>
            </a:extLst>
          </p:cNvPr>
          <p:cNvSpPr>
            <a:spLocks/>
          </p:cNvSpPr>
          <p:nvPr/>
        </p:nvSpPr>
        <p:spPr>
          <a:xfrm>
            <a:off x="4800573" y="3496014"/>
            <a:ext cx="4869659" cy="553998"/>
          </a:xfrm>
          <a:prstGeom prst="rect">
            <a:avLst/>
          </a:prstGeom>
        </p:spPr>
        <p:txBody>
          <a:bodyPr wrap="square" lIns="0" tIns="0" rIns="0" bIns="0">
            <a:spAutoFit/>
          </a:bodyPr>
          <a:lstStyle/>
          <a:p>
            <a:pPr>
              <a:lnSpc>
                <a:spcPct val="90000"/>
              </a:lnSpc>
              <a:spcBef>
                <a:spcPts val="325"/>
              </a:spcBef>
              <a:buSzPct val="100000"/>
            </a:pPr>
            <a:r>
              <a:rPr lang="en-US" sz="2000" b="0">
                <a:solidFill>
                  <a:schemeClr val="accent6"/>
                </a:solidFill>
              </a:rPr>
              <a:t>Prioritize safe and reliable grid operation, reduce </a:t>
            </a:r>
            <a:r>
              <a:rPr lang="en-US" sz="2000" b="0" err="1">
                <a:solidFill>
                  <a:schemeClr val="accent6"/>
                </a:solidFill>
              </a:rPr>
              <a:t>T&amp;D</a:t>
            </a:r>
            <a:r>
              <a:rPr lang="en-US" sz="2000" b="0">
                <a:solidFill>
                  <a:schemeClr val="accent6"/>
                </a:solidFill>
              </a:rPr>
              <a:t> losses </a:t>
            </a:r>
          </a:p>
        </p:txBody>
      </p:sp>
      <p:sp>
        <p:nvSpPr>
          <p:cNvPr id="90" name="TextBox 105">
            <a:extLst>
              <a:ext uri="{FF2B5EF4-FFF2-40B4-BE49-F238E27FC236}">
                <a16:creationId xmlns:a16="http://schemas.microsoft.com/office/drawing/2014/main" id="{5D5C0AD7-7283-43D5-974D-BA376BD5B37F}"/>
              </a:ext>
            </a:extLst>
          </p:cNvPr>
          <p:cNvSpPr txBox="1"/>
          <p:nvPr/>
        </p:nvSpPr>
        <p:spPr>
          <a:xfrm>
            <a:off x="4259059" y="2480862"/>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1</a:t>
            </a:r>
          </a:p>
        </p:txBody>
      </p:sp>
      <p:sp>
        <p:nvSpPr>
          <p:cNvPr id="91" name="TextBox 105">
            <a:extLst>
              <a:ext uri="{FF2B5EF4-FFF2-40B4-BE49-F238E27FC236}">
                <a16:creationId xmlns:a16="http://schemas.microsoft.com/office/drawing/2014/main" id="{BB0B5E14-BE04-45BB-9FC1-85DF3588B5DC}"/>
              </a:ext>
            </a:extLst>
          </p:cNvPr>
          <p:cNvSpPr txBox="1"/>
          <p:nvPr/>
        </p:nvSpPr>
        <p:spPr>
          <a:xfrm>
            <a:off x="4259059" y="3493837"/>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2</a:t>
            </a:r>
          </a:p>
        </p:txBody>
      </p:sp>
      <p:sp>
        <p:nvSpPr>
          <p:cNvPr id="92" name="TextBox 105">
            <a:extLst>
              <a:ext uri="{FF2B5EF4-FFF2-40B4-BE49-F238E27FC236}">
                <a16:creationId xmlns:a16="http://schemas.microsoft.com/office/drawing/2014/main" id="{DFDE0226-9125-46FC-AF8D-BA462631802C}"/>
              </a:ext>
            </a:extLst>
          </p:cNvPr>
          <p:cNvSpPr txBox="1"/>
          <p:nvPr/>
        </p:nvSpPr>
        <p:spPr>
          <a:xfrm>
            <a:off x="4259059" y="4337882"/>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3</a:t>
            </a:r>
          </a:p>
        </p:txBody>
      </p:sp>
      <p:sp>
        <p:nvSpPr>
          <p:cNvPr id="93" name="TextBox 105">
            <a:extLst>
              <a:ext uri="{FF2B5EF4-FFF2-40B4-BE49-F238E27FC236}">
                <a16:creationId xmlns:a16="http://schemas.microsoft.com/office/drawing/2014/main" id="{8DF0B5B9-1254-41C7-B38A-B57DEB06D8FA}"/>
              </a:ext>
            </a:extLst>
          </p:cNvPr>
          <p:cNvSpPr txBox="1"/>
          <p:nvPr/>
        </p:nvSpPr>
        <p:spPr>
          <a:xfrm>
            <a:off x="4259059" y="5142308"/>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4</a:t>
            </a:r>
          </a:p>
        </p:txBody>
      </p:sp>
      <p:cxnSp>
        <p:nvCxnSpPr>
          <p:cNvPr id="54" name="Straight Connector 53">
            <a:extLst>
              <a:ext uri="{FF2B5EF4-FFF2-40B4-BE49-F238E27FC236}">
                <a16:creationId xmlns:a16="http://schemas.microsoft.com/office/drawing/2014/main" id="{FFF2C9F8-FBA7-41FA-8083-579C47AFE9B3}"/>
              </a:ext>
            </a:extLst>
          </p:cNvPr>
          <p:cNvCxnSpPr>
            <a:cxnSpLocks/>
          </p:cNvCxnSpPr>
          <p:nvPr/>
        </p:nvCxnSpPr>
        <p:spPr>
          <a:xfrm>
            <a:off x="3209691" y="4401699"/>
            <a:ext cx="752709"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7FACEFB-3EC5-4962-A8E9-9C8C078C0958}"/>
              </a:ext>
            </a:extLst>
          </p:cNvPr>
          <p:cNvCxnSpPr>
            <a:cxnSpLocks/>
          </p:cNvCxnSpPr>
          <p:nvPr/>
        </p:nvCxnSpPr>
        <p:spPr>
          <a:xfrm>
            <a:off x="2257791" y="5527761"/>
            <a:ext cx="1704610"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ACE09A54-A229-4214-8FDE-855F262F4D9D}"/>
              </a:ext>
            </a:extLst>
          </p:cNvPr>
          <p:cNvSpPr>
            <a:spLocks noChangeArrowheads="1"/>
          </p:cNvSpPr>
          <p:nvPr/>
        </p:nvSpPr>
        <p:spPr bwMode="auto">
          <a:xfrm>
            <a:off x="513095" y="2833236"/>
            <a:ext cx="2722475" cy="2722474"/>
          </a:xfrm>
          <a:prstGeom prst="ellipse">
            <a:avLst/>
          </a:prstGeom>
          <a:solidFill>
            <a:schemeClr val="bg2"/>
          </a:solidFill>
          <a:ln w="3175" cap="flat">
            <a:noFill/>
            <a:prstDash val="solid"/>
            <a:miter lim="800000"/>
            <a:headEnd/>
            <a:tailEnd/>
          </a:ln>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6" name="Oval 5">
            <a:extLst>
              <a:ext uri="{FF2B5EF4-FFF2-40B4-BE49-F238E27FC236}">
                <a16:creationId xmlns:a16="http://schemas.microsoft.com/office/drawing/2014/main" id="{C3A67063-9467-4204-9F20-E095BB4BB1CC}"/>
              </a:ext>
            </a:extLst>
          </p:cNvPr>
          <p:cNvSpPr/>
          <p:nvPr/>
        </p:nvSpPr>
        <p:spPr>
          <a:xfrm>
            <a:off x="755071" y="3124731"/>
            <a:ext cx="2139119" cy="2139118"/>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8500" tIns="58500" rIns="58500" bIns="58500" rtlCol="0" anchor="t"/>
          <a:lstStyle/>
          <a:p>
            <a:pPr>
              <a:lnSpc>
                <a:spcPct val="90000"/>
              </a:lnSpc>
              <a:spcBef>
                <a:spcPts val="325"/>
              </a:spcBef>
              <a:buSzPct val="100000"/>
            </a:pPr>
            <a:endParaRPr lang="en-GB" sz="975" b="0" err="1">
              <a:solidFill>
                <a:schemeClr val="tx1"/>
              </a:solidFill>
              <a:sym typeface="+mn-lt"/>
            </a:endParaRPr>
          </a:p>
        </p:txBody>
      </p:sp>
      <p:sp>
        <p:nvSpPr>
          <p:cNvPr id="43" name="Freeform 314">
            <a:extLst>
              <a:ext uri="{FF2B5EF4-FFF2-40B4-BE49-F238E27FC236}">
                <a16:creationId xmlns:a16="http://schemas.microsoft.com/office/drawing/2014/main" id="{9E00F1CF-CB8C-4487-BD8F-395F47B00535}"/>
              </a:ext>
            </a:extLst>
          </p:cNvPr>
          <p:cNvSpPr>
            <a:spLocks/>
          </p:cNvSpPr>
          <p:nvPr/>
        </p:nvSpPr>
        <p:spPr bwMode="auto">
          <a:xfrm>
            <a:off x="1846052" y="4698630"/>
            <a:ext cx="1042741" cy="1136374"/>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4"/>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6" name="Freeform 315">
            <a:extLst>
              <a:ext uri="{FF2B5EF4-FFF2-40B4-BE49-F238E27FC236}">
                <a16:creationId xmlns:a16="http://schemas.microsoft.com/office/drawing/2014/main" id="{0059006E-869B-430D-8471-0D2BD103F0DE}"/>
              </a:ext>
            </a:extLst>
          </p:cNvPr>
          <p:cNvSpPr>
            <a:spLocks/>
          </p:cNvSpPr>
          <p:nvPr/>
        </p:nvSpPr>
        <p:spPr bwMode="auto">
          <a:xfrm>
            <a:off x="2197085" y="4200857"/>
            <a:ext cx="1337830" cy="1310874"/>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accent5"/>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7" name="Freeform 502">
            <a:extLst>
              <a:ext uri="{FF2B5EF4-FFF2-40B4-BE49-F238E27FC236}">
                <a16:creationId xmlns:a16="http://schemas.microsoft.com/office/drawing/2014/main" id="{1D788F37-5A5F-4A75-BEC3-476EB288E22B}"/>
              </a:ext>
            </a:extLst>
          </p:cNvPr>
          <p:cNvSpPr>
            <a:spLocks/>
          </p:cNvSpPr>
          <p:nvPr/>
        </p:nvSpPr>
        <p:spPr bwMode="auto">
          <a:xfrm>
            <a:off x="2280788" y="2916939"/>
            <a:ext cx="1359109" cy="1378971"/>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chemeClr val="accent6"/>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8" name="Freeform 503">
            <a:extLst>
              <a:ext uri="{FF2B5EF4-FFF2-40B4-BE49-F238E27FC236}">
                <a16:creationId xmlns:a16="http://schemas.microsoft.com/office/drawing/2014/main" id="{C2E27B74-2D10-4F99-9169-D9BE1A9581E6}"/>
              </a:ext>
            </a:extLst>
          </p:cNvPr>
          <p:cNvSpPr>
            <a:spLocks/>
          </p:cNvSpPr>
          <p:nvPr/>
        </p:nvSpPr>
        <p:spPr bwMode="auto">
          <a:xfrm>
            <a:off x="1716148" y="2322506"/>
            <a:ext cx="1445650" cy="1465511"/>
          </a:xfrm>
          <a:custGeom>
            <a:avLst/>
            <a:gdLst>
              <a:gd name="T0" fmla="*/ 0 w 430"/>
              <a:gd name="T1" fmla="*/ 6 h 436"/>
              <a:gd name="T2" fmla="*/ 7 w 430"/>
              <a:gd name="T3" fmla="*/ 383 h 436"/>
              <a:gd name="T4" fmla="*/ 177 w 430"/>
              <a:gd name="T5" fmla="*/ 436 h 436"/>
              <a:gd name="T6" fmla="*/ 430 w 430"/>
              <a:gd name="T7" fmla="*/ 175 h 436"/>
              <a:gd name="T8" fmla="*/ 0 w 430"/>
              <a:gd name="T9" fmla="*/ 6 h 436"/>
            </a:gdLst>
            <a:ahLst/>
            <a:cxnLst>
              <a:cxn ang="0">
                <a:pos x="T0" y="T1"/>
              </a:cxn>
              <a:cxn ang="0">
                <a:pos x="T2" y="T3"/>
              </a:cxn>
              <a:cxn ang="0">
                <a:pos x="T4" y="T5"/>
              </a:cxn>
              <a:cxn ang="0">
                <a:pos x="T6" y="T7"/>
              </a:cxn>
              <a:cxn ang="0">
                <a:pos x="T8" y="T9"/>
              </a:cxn>
            </a:cxnLst>
            <a:rect l="0" t="0" r="r" b="b"/>
            <a:pathLst>
              <a:path w="430" h="436">
                <a:moveTo>
                  <a:pt x="0" y="6"/>
                </a:moveTo>
                <a:cubicBezTo>
                  <a:pt x="7" y="383"/>
                  <a:pt x="7" y="383"/>
                  <a:pt x="7" y="383"/>
                </a:cubicBezTo>
                <a:cubicBezTo>
                  <a:pt x="177" y="436"/>
                  <a:pt x="177" y="436"/>
                  <a:pt x="177" y="436"/>
                </a:cubicBezTo>
                <a:cubicBezTo>
                  <a:pt x="430" y="175"/>
                  <a:pt x="430" y="175"/>
                  <a:pt x="430" y="175"/>
                </a:cubicBezTo>
                <a:cubicBezTo>
                  <a:pt x="430" y="175"/>
                  <a:pt x="262" y="0"/>
                  <a:pt x="0" y="6"/>
                </a:cubicBezTo>
                <a:close/>
              </a:path>
            </a:pathLst>
          </a:custGeom>
          <a:solidFill>
            <a:schemeClr val="accent4">
              <a:lumMod val="50000"/>
            </a:schemeClr>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55" name="Oval 54">
            <a:extLst>
              <a:ext uri="{FF2B5EF4-FFF2-40B4-BE49-F238E27FC236}">
                <a16:creationId xmlns:a16="http://schemas.microsoft.com/office/drawing/2014/main" id="{AF7BD188-65F5-49ED-8260-5E22D4C97794}"/>
              </a:ext>
            </a:extLst>
          </p:cNvPr>
          <p:cNvSpPr>
            <a:spLocks noChangeArrowheads="1"/>
          </p:cNvSpPr>
          <p:nvPr/>
        </p:nvSpPr>
        <p:spPr bwMode="auto">
          <a:xfrm>
            <a:off x="1187847" y="3507987"/>
            <a:ext cx="1372975" cy="1372972"/>
          </a:xfrm>
          <a:prstGeom prst="ellipse">
            <a:avLst/>
          </a:prstGeom>
          <a:solidFill>
            <a:schemeClr val="bg1"/>
          </a:solidFill>
          <a:ln w="3175" cap="flat">
            <a:no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60" name="TextBox 105">
            <a:extLst>
              <a:ext uri="{FF2B5EF4-FFF2-40B4-BE49-F238E27FC236}">
                <a16:creationId xmlns:a16="http://schemas.microsoft.com/office/drawing/2014/main" id="{FEC4E28E-A8DA-43DB-B878-FB0746E02BF3}"/>
              </a:ext>
            </a:extLst>
          </p:cNvPr>
          <p:cNvSpPr txBox="1"/>
          <p:nvPr/>
        </p:nvSpPr>
        <p:spPr>
          <a:xfrm>
            <a:off x="2056068" y="2488797"/>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1</a:t>
            </a:r>
          </a:p>
        </p:txBody>
      </p:sp>
      <p:sp>
        <p:nvSpPr>
          <p:cNvPr id="61" name="TextBox 105">
            <a:extLst>
              <a:ext uri="{FF2B5EF4-FFF2-40B4-BE49-F238E27FC236}">
                <a16:creationId xmlns:a16="http://schemas.microsoft.com/office/drawing/2014/main" id="{763ED6CD-830E-40E1-BBF1-0712D648B415}"/>
              </a:ext>
            </a:extLst>
          </p:cNvPr>
          <p:cNvSpPr txBox="1"/>
          <p:nvPr/>
        </p:nvSpPr>
        <p:spPr>
          <a:xfrm>
            <a:off x="2911824" y="340124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2</a:t>
            </a:r>
          </a:p>
        </p:txBody>
      </p:sp>
      <p:sp>
        <p:nvSpPr>
          <p:cNvPr id="62" name="TextBox 105">
            <a:extLst>
              <a:ext uri="{FF2B5EF4-FFF2-40B4-BE49-F238E27FC236}">
                <a16:creationId xmlns:a16="http://schemas.microsoft.com/office/drawing/2014/main" id="{AE4F13C4-B99A-46F5-9B6D-F3EB1A940EF7}"/>
              </a:ext>
            </a:extLst>
          </p:cNvPr>
          <p:cNvSpPr txBox="1"/>
          <p:nvPr/>
        </p:nvSpPr>
        <p:spPr>
          <a:xfrm>
            <a:off x="2841080" y="460663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3</a:t>
            </a:r>
          </a:p>
        </p:txBody>
      </p:sp>
      <p:sp>
        <p:nvSpPr>
          <p:cNvPr id="63" name="TextBox 105">
            <a:extLst>
              <a:ext uri="{FF2B5EF4-FFF2-40B4-BE49-F238E27FC236}">
                <a16:creationId xmlns:a16="http://schemas.microsoft.com/office/drawing/2014/main" id="{6635BCB0-21FE-41F6-9AD3-F3FDEDFE2C56}"/>
              </a:ext>
            </a:extLst>
          </p:cNvPr>
          <p:cNvSpPr txBox="1"/>
          <p:nvPr/>
        </p:nvSpPr>
        <p:spPr>
          <a:xfrm>
            <a:off x="1935743" y="526978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4</a:t>
            </a:r>
          </a:p>
        </p:txBody>
      </p:sp>
      <p:sp>
        <p:nvSpPr>
          <p:cNvPr id="50" name="Graphic 13">
            <a:extLst>
              <a:ext uri="{FF2B5EF4-FFF2-40B4-BE49-F238E27FC236}">
                <a16:creationId xmlns:a16="http://schemas.microsoft.com/office/drawing/2014/main" id="{AA08C095-2053-4559-87A7-7FEC84C045E7}"/>
              </a:ext>
            </a:extLst>
          </p:cNvPr>
          <p:cNvSpPr>
            <a:spLocks noChangeAspect="1"/>
          </p:cNvSpPr>
          <p:nvPr/>
        </p:nvSpPr>
        <p:spPr>
          <a:xfrm>
            <a:off x="1429245" y="3765295"/>
            <a:ext cx="892438" cy="707795"/>
          </a:xfrm>
          <a:custGeom>
            <a:avLst/>
            <a:gdLst>
              <a:gd name="connsiteX0" fmla="*/ 848320 w 863203"/>
              <a:gd name="connsiteY0" fmla="*/ 654844 h 684609"/>
              <a:gd name="connsiteX1" fmla="*/ 773906 w 863203"/>
              <a:gd name="connsiteY1" fmla="*/ 654844 h 684609"/>
              <a:gd name="connsiteX2" fmla="*/ 773906 w 863203"/>
              <a:gd name="connsiteY2" fmla="*/ 491133 h 684609"/>
              <a:gd name="connsiteX3" fmla="*/ 765572 w 863203"/>
              <a:gd name="connsiteY3" fmla="*/ 477738 h 684609"/>
              <a:gd name="connsiteX4" fmla="*/ 595313 w 863203"/>
              <a:gd name="connsiteY4" fmla="*/ 392609 h 684609"/>
              <a:gd name="connsiteX5" fmla="*/ 595313 w 863203"/>
              <a:gd name="connsiteY5" fmla="*/ 197346 h 684609"/>
              <a:gd name="connsiteX6" fmla="*/ 595908 w 863203"/>
              <a:gd name="connsiteY6" fmla="*/ 193477 h 684609"/>
              <a:gd name="connsiteX7" fmla="*/ 594122 w 863203"/>
              <a:gd name="connsiteY7" fmla="*/ 187523 h 684609"/>
              <a:gd name="connsiteX8" fmla="*/ 592038 w 863203"/>
              <a:gd name="connsiteY8" fmla="*/ 183654 h 684609"/>
              <a:gd name="connsiteX9" fmla="*/ 564059 w 863203"/>
              <a:gd name="connsiteY9" fmla="*/ 127397 h 684609"/>
              <a:gd name="connsiteX10" fmla="*/ 550664 w 863203"/>
              <a:gd name="connsiteY10" fmla="*/ 119063 h 684609"/>
              <a:gd name="connsiteX11" fmla="*/ 506016 w 863203"/>
              <a:gd name="connsiteY11" fmla="*/ 119063 h 684609"/>
              <a:gd name="connsiteX12" fmla="*/ 506016 w 863203"/>
              <a:gd name="connsiteY12" fmla="*/ 74414 h 684609"/>
              <a:gd name="connsiteX13" fmla="*/ 491133 w 863203"/>
              <a:gd name="connsiteY13" fmla="*/ 59531 h 684609"/>
              <a:gd name="connsiteX14" fmla="*/ 476250 w 863203"/>
              <a:gd name="connsiteY14" fmla="*/ 59531 h 684609"/>
              <a:gd name="connsiteX15" fmla="*/ 476250 w 863203"/>
              <a:gd name="connsiteY15" fmla="*/ 14883 h 684609"/>
              <a:gd name="connsiteX16" fmla="*/ 461367 w 863203"/>
              <a:gd name="connsiteY16" fmla="*/ 0 h 684609"/>
              <a:gd name="connsiteX17" fmla="*/ 446484 w 863203"/>
              <a:gd name="connsiteY17" fmla="*/ 14883 h 684609"/>
              <a:gd name="connsiteX18" fmla="*/ 446484 w 863203"/>
              <a:gd name="connsiteY18" fmla="*/ 59531 h 684609"/>
              <a:gd name="connsiteX19" fmla="*/ 431602 w 863203"/>
              <a:gd name="connsiteY19" fmla="*/ 59531 h 684609"/>
              <a:gd name="connsiteX20" fmla="*/ 416719 w 863203"/>
              <a:gd name="connsiteY20" fmla="*/ 74414 h 684609"/>
              <a:gd name="connsiteX21" fmla="*/ 416719 w 863203"/>
              <a:gd name="connsiteY21" fmla="*/ 119063 h 684609"/>
              <a:gd name="connsiteX22" fmla="*/ 372070 w 863203"/>
              <a:gd name="connsiteY22" fmla="*/ 119063 h 684609"/>
              <a:gd name="connsiteX23" fmla="*/ 358676 w 863203"/>
              <a:gd name="connsiteY23" fmla="*/ 127397 h 684609"/>
              <a:gd name="connsiteX24" fmla="*/ 329803 w 863203"/>
              <a:gd name="connsiteY24" fmla="*/ 185142 h 684609"/>
              <a:gd name="connsiteX25" fmla="*/ 328910 w 863203"/>
              <a:gd name="connsiteY25" fmla="*/ 186928 h 684609"/>
              <a:gd name="connsiteX26" fmla="*/ 327422 w 863203"/>
              <a:gd name="connsiteY26" fmla="*/ 193774 h 684609"/>
              <a:gd name="connsiteX27" fmla="*/ 327422 w 863203"/>
              <a:gd name="connsiteY27" fmla="*/ 297656 h 684609"/>
              <a:gd name="connsiteX28" fmla="*/ 104180 w 863203"/>
              <a:gd name="connsiteY28" fmla="*/ 297656 h 684609"/>
              <a:gd name="connsiteX29" fmla="*/ 89297 w 863203"/>
              <a:gd name="connsiteY29" fmla="*/ 312539 h 684609"/>
              <a:gd name="connsiteX30" fmla="*/ 89297 w 863203"/>
              <a:gd name="connsiteY30" fmla="*/ 654844 h 684609"/>
              <a:gd name="connsiteX31" fmla="*/ 14883 w 863203"/>
              <a:gd name="connsiteY31" fmla="*/ 654844 h 684609"/>
              <a:gd name="connsiteX32" fmla="*/ 0 w 863203"/>
              <a:gd name="connsiteY32" fmla="*/ 669727 h 684609"/>
              <a:gd name="connsiteX33" fmla="*/ 14883 w 863203"/>
              <a:gd name="connsiteY33" fmla="*/ 684609 h 684609"/>
              <a:gd name="connsiteX34" fmla="*/ 104180 w 863203"/>
              <a:gd name="connsiteY34" fmla="*/ 684609 h 684609"/>
              <a:gd name="connsiteX35" fmla="*/ 342305 w 863203"/>
              <a:gd name="connsiteY35" fmla="*/ 684609 h 684609"/>
              <a:gd name="connsiteX36" fmla="*/ 580430 w 863203"/>
              <a:gd name="connsiteY36" fmla="*/ 684609 h 684609"/>
              <a:gd name="connsiteX37" fmla="*/ 759023 w 863203"/>
              <a:gd name="connsiteY37" fmla="*/ 684609 h 684609"/>
              <a:gd name="connsiteX38" fmla="*/ 848320 w 863203"/>
              <a:gd name="connsiteY38" fmla="*/ 684609 h 684609"/>
              <a:gd name="connsiteX39" fmla="*/ 863203 w 863203"/>
              <a:gd name="connsiteY39" fmla="*/ 669727 h 684609"/>
              <a:gd name="connsiteX40" fmla="*/ 848320 w 863203"/>
              <a:gd name="connsiteY40" fmla="*/ 654844 h 684609"/>
              <a:gd name="connsiteX41" fmla="*/ 282773 w 863203"/>
              <a:gd name="connsiteY41" fmla="*/ 565547 h 684609"/>
              <a:gd name="connsiteX42" fmla="*/ 253008 w 863203"/>
              <a:gd name="connsiteY42" fmla="*/ 565547 h 684609"/>
              <a:gd name="connsiteX43" fmla="*/ 238125 w 863203"/>
              <a:gd name="connsiteY43" fmla="*/ 550664 h 684609"/>
              <a:gd name="connsiteX44" fmla="*/ 253008 w 863203"/>
              <a:gd name="connsiteY44" fmla="*/ 535781 h 684609"/>
              <a:gd name="connsiteX45" fmla="*/ 282773 w 863203"/>
              <a:gd name="connsiteY45" fmla="*/ 535781 h 684609"/>
              <a:gd name="connsiteX46" fmla="*/ 297656 w 863203"/>
              <a:gd name="connsiteY46" fmla="*/ 550664 h 684609"/>
              <a:gd name="connsiteX47" fmla="*/ 282773 w 863203"/>
              <a:gd name="connsiteY47" fmla="*/ 565547 h 684609"/>
              <a:gd name="connsiteX48" fmla="*/ 297656 w 863203"/>
              <a:gd name="connsiteY48" fmla="*/ 610195 h 684609"/>
              <a:gd name="connsiteX49" fmla="*/ 282773 w 863203"/>
              <a:gd name="connsiteY49" fmla="*/ 625078 h 684609"/>
              <a:gd name="connsiteX50" fmla="*/ 253008 w 863203"/>
              <a:gd name="connsiteY50" fmla="*/ 625078 h 684609"/>
              <a:gd name="connsiteX51" fmla="*/ 238125 w 863203"/>
              <a:gd name="connsiteY51" fmla="*/ 610195 h 684609"/>
              <a:gd name="connsiteX52" fmla="*/ 253008 w 863203"/>
              <a:gd name="connsiteY52" fmla="*/ 595313 h 684609"/>
              <a:gd name="connsiteX53" fmla="*/ 282773 w 863203"/>
              <a:gd name="connsiteY53" fmla="*/ 595313 h 684609"/>
              <a:gd name="connsiteX54" fmla="*/ 297656 w 863203"/>
              <a:gd name="connsiteY54" fmla="*/ 610195 h 684609"/>
              <a:gd name="connsiteX55" fmla="*/ 282773 w 863203"/>
              <a:gd name="connsiteY55" fmla="*/ 506016 h 684609"/>
              <a:gd name="connsiteX56" fmla="*/ 253008 w 863203"/>
              <a:gd name="connsiteY56" fmla="*/ 506016 h 684609"/>
              <a:gd name="connsiteX57" fmla="*/ 238125 w 863203"/>
              <a:gd name="connsiteY57" fmla="*/ 491133 h 684609"/>
              <a:gd name="connsiteX58" fmla="*/ 253008 w 863203"/>
              <a:gd name="connsiteY58" fmla="*/ 476250 h 684609"/>
              <a:gd name="connsiteX59" fmla="*/ 282773 w 863203"/>
              <a:gd name="connsiteY59" fmla="*/ 476250 h 684609"/>
              <a:gd name="connsiteX60" fmla="*/ 297656 w 863203"/>
              <a:gd name="connsiteY60" fmla="*/ 491133 h 684609"/>
              <a:gd name="connsiteX61" fmla="*/ 282773 w 863203"/>
              <a:gd name="connsiteY61" fmla="*/ 506016 h 684609"/>
              <a:gd name="connsiteX62" fmla="*/ 282773 w 863203"/>
              <a:gd name="connsiteY62" fmla="*/ 446484 h 684609"/>
              <a:gd name="connsiteX63" fmla="*/ 253008 w 863203"/>
              <a:gd name="connsiteY63" fmla="*/ 446484 h 684609"/>
              <a:gd name="connsiteX64" fmla="*/ 238125 w 863203"/>
              <a:gd name="connsiteY64" fmla="*/ 431602 h 684609"/>
              <a:gd name="connsiteX65" fmla="*/ 253008 w 863203"/>
              <a:gd name="connsiteY65" fmla="*/ 416719 h 684609"/>
              <a:gd name="connsiteX66" fmla="*/ 282773 w 863203"/>
              <a:gd name="connsiteY66" fmla="*/ 416719 h 684609"/>
              <a:gd name="connsiteX67" fmla="*/ 297656 w 863203"/>
              <a:gd name="connsiteY67" fmla="*/ 431602 h 684609"/>
              <a:gd name="connsiteX68" fmla="*/ 282773 w 863203"/>
              <a:gd name="connsiteY68" fmla="*/ 446484 h 684609"/>
              <a:gd name="connsiteX69" fmla="*/ 282773 w 863203"/>
              <a:gd name="connsiteY69" fmla="*/ 386953 h 684609"/>
              <a:gd name="connsiteX70" fmla="*/ 253008 w 863203"/>
              <a:gd name="connsiteY70" fmla="*/ 386953 h 684609"/>
              <a:gd name="connsiteX71" fmla="*/ 238125 w 863203"/>
              <a:gd name="connsiteY71" fmla="*/ 372070 h 684609"/>
              <a:gd name="connsiteX72" fmla="*/ 253008 w 863203"/>
              <a:gd name="connsiteY72" fmla="*/ 357188 h 684609"/>
              <a:gd name="connsiteX73" fmla="*/ 282773 w 863203"/>
              <a:gd name="connsiteY73" fmla="*/ 357188 h 684609"/>
              <a:gd name="connsiteX74" fmla="*/ 297656 w 863203"/>
              <a:gd name="connsiteY74" fmla="*/ 372070 h 684609"/>
              <a:gd name="connsiteX75" fmla="*/ 282773 w 863203"/>
              <a:gd name="connsiteY75" fmla="*/ 386953 h 684609"/>
              <a:gd name="connsiteX76" fmla="*/ 193477 w 863203"/>
              <a:gd name="connsiteY76" fmla="*/ 565547 h 684609"/>
              <a:gd name="connsiteX77" fmla="*/ 163711 w 863203"/>
              <a:gd name="connsiteY77" fmla="*/ 565547 h 684609"/>
              <a:gd name="connsiteX78" fmla="*/ 148828 w 863203"/>
              <a:gd name="connsiteY78" fmla="*/ 550664 h 684609"/>
              <a:gd name="connsiteX79" fmla="*/ 163711 w 863203"/>
              <a:gd name="connsiteY79" fmla="*/ 535781 h 684609"/>
              <a:gd name="connsiteX80" fmla="*/ 193477 w 863203"/>
              <a:gd name="connsiteY80" fmla="*/ 535781 h 684609"/>
              <a:gd name="connsiteX81" fmla="*/ 208359 w 863203"/>
              <a:gd name="connsiteY81" fmla="*/ 550664 h 684609"/>
              <a:gd name="connsiteX82" fmla="*/ 193477 w 863203"/>
              <a:gd name="connsiteY82" fmla="*/ 565547 h 684609"/>
              <a:gd name="connsiteX83" fmla="*/ 208359 w 863203"/>
              <a:gd name="connsiteY83" fmla="*/ 610195 h 684609"/>
              <a:gd name="connsiteX84" fmla="*/ 193477 w 863203"/>
              <a:gd name="connsiteY84" fmla="*/ 625078 h 684609"/>
              <a:gd name="connsiteX85" fmla="*/ 163711 w 863203"/>
              <a:gd name="connsiteY85" fmla="*/ 625078 h 684609"/>
              <a:gd name="connsiteX86" fmla="*/ 148828 w 863203"/>
              <a:gd name="connsiteY86" fmla="*/ 610195 h 684609"/>
              <a:gd name="connsiteX87" fmla="*/ 163711 w 863203"/>
              <a:gd name="connsiteY87" fmla="*/ 595313 h 684609"/>
              <a:gd name="connsiteX88" fmla="*/ 193477 w 863203"/>
              <a:gd name="connsiteY88" fmla="*/ 595313 h 684609"/>
              <a:gd name="connsiteX89" fmla="*/ 208359 w 863203"/>
              <a:gd name="connsiteY89" fmla="*/ 610195 h 684609"/>
              <a:gd name="connsiteX90" fmla="*/ 193477 w 863203"/>
              <a:gd name="connsiteY90" fmla="*/ 506016 h 684609"/>
              <a:gd name="connsiteX91" fmla="*/ 163711 w 863203"/>
              <a:gd name="connsiteY91" fmla="*/ 506016 h 684609"/>
              <a:gd name="connsiteX92" fmla="*/ 148828 w 863203"/>
              <a:gd name="connsiteY92" fmla="*/ 491133 h 684609"/>
              <a:gd name="connsiteX93" fmla="*/ 163711 w 863203"/>
              <a:gd name="connsiteY93" fmla="*/ 476250 h 684609"/>
              <a:gd name="connsiteX94" fmla="*/ 193477 w 863203"/>
              <a:gd name="connsiteY94" fmla="*/ 476250 h 684609"/>
              <a:gd name="connsiteX95" fmla="*/ 208359 w 863203"/>
              <a:gd name="connsiteY95" fmla="*/ 491133 h 684609"/>
              <a:gd name="connsiteX96" fmla="*/ 193477 w 863203"/>
              <a:gd name="connsiteY96" fmla="*/ 506016 h 684609"/>
              <a:gd name="connsiteX97" fmla="*/ 193477 w 863203"/>
              <a:gd name="connsiteY97" fmla="*/ 446484 h 684609"/>
              <a:gd name="connsiteX98" fmla="*/ 163711 w 863203"/>
              <a:gd name="connsiteY98" fmla="*/ 446484 h 684609"/>
              <a:gd name="connsiteX99" fmla="*/ 148828 w 863203"/>
              <a:gd name="connsiteY99" fmla="*/ 431602 h 684609"/>
              <a:gd name="connsiteX100" fmla="*/ 163711 w 863203"/>
              <a:gd name="connsiteY100" fmla="*/ 416719 h 684609"/>
              <a:gd name="connsiteX101" fmla="*/ 193477 w 863203"/>
              <a:gd name="connsiteY101" fmla="*/ 416719 h 684609"/>
              <a:gd name="connsiteX102" fmla="*/ 208359 w 863203"/>
              <a:gd name="connsiteY102" fmla="*/ 431602 h 684609"/>
              <a:gd name="connsiteX103" fmla="*/ 193477 w 863203"/>
              <a:gd name="connsiteY103" fmla="*/ 446484 h 684609"/>
              <a:gd name="connsiteX104" fmla="*/ 193477 w 863203"/>
              <a:gd name="connsiteY104" fmla="*/ 386953 h 684609"/>
              <a:gd name="connsiteX105" fmla="*/ 163711 w 863203"/>
              <a:gd name="connsiteY105" fmla="*/ 386953 h 684609"/>
              <a:gd name="connsiteX106" fmla="*/ 148828 w 863203"/>
              <a:gd name="connsiteY106" fmla="*/ 372070 h 684609"/>
              <a:gd name="connsiteX107" fmla="*/ 163711 w 863203"/>
              <a:gd name="connsiteY107" fmla="*/ 357188 h 684609"/>
              <a:gd name="connsiteX108" fmla="*/ 193477 w 863203"/>
              <a:gd name="connsiteY108" fmla="*/ 357188 h 684609"/>
              <a:gd name="connsiteX109" fmla="*/ 208359 w 863203"/>
              <a:gd name="connsiteY109" fmla="*/ 372070 h 684609"/>
              <a:gd name="connsiteX110" fmla="*/ 193477 w 863203"/>
              <a:gd name="connsiteY110" fmla="*/ 386953 h 684609"/>
              <a:gd name="connsiteX111" fmla="*/ 639961 w 863203"/>
              <a:gd name="connsiteY111" fmla="*/ 565547 h 684609"/>
              <a:gd name="connsiteX112" fmla="*/ 669727 w 863203"/>
              <a:gd name="connsiteY112" fmla="*/ 565547 h 684609"/>
              <a:gd name="connsiteX113" fmla="*/ 684609 w 863203"/>
              <a:gd name="connsiteY113" fmla="*/ 580430 h 684609"/>
              <a:gd name="connsiteX114" fmla="*/ 669727 w 863203"/>
              <a:gd name="connsiteY114" fmla="*/ 595313 h 684609"/>
              <a:gd name="connsiteX115" fmla="*/ 639961 w 863203"/>
              <a:gd name="connsiteY115" fmla="*/ 595313 h 684609"/>
              <a:gd name="connsiteX116" fmla="*/ 625078 w 863203"/>
              <a:gd name="connsiteY116" fmla="*/ 580430 h 684609"/>
              <a:gd name="connsiteX117" fmla="*/ 639961 w 863203"/>
              <a:gd name="connsiteY117" fmla="*/ 565547 h 684609"/>
              <a:gd name="connsiteX118" fmla="*/ 625078 w 863203"/>
              <a:gd name="connsiteY118" fmla="*/ 520898 h 684609"/>
              <a:gd name="connsiteX119" fmla="*/ 639961 w 863203"/>
              <a:gd name="connsiteY119" fmla="*/ 506016 h 684609"/>
              <a:gd name="connsiteX120" fmla="*/ 669727 w 863203"/>
              <a:gd name="connsiteY120" fmla="*/ 506016 h 684609"/>
              <a:gd name="connsiteX121" fmla="*/ 684609 w 863203"/>
              <a:gd name="connsiteY121" fmla="*/ 520898 h 684609"/>
              <a:gd name="connsiteX122" fmla="*/ 669727 w 863203"/>
              <a:gd name="connsiteY122" fmla="*/ 535781 h 684609"/>
              <a:gd name="connsiteX123" fmla="*/ 639961 w 863203"/>
              <a:gd name="connsiteY123" fmla="*/ 535781 h 684609"/>
              <a:gd name="connsiteX124" fmla="*/ 625078 w 863203"/>
              <a:gd name="connsiteY124" fmla="*/ 520898 h 684609"/>
              <a:gd name="connsiteX125" fmla="*/ 520898 w 863203"/>
              <a:gd name="connsiteY125" fmla="*/ 565547 h 684609"/>
              <a:gd name="connsiteX126" fmla="*/ 491133 w 863203"/>
              <a:gd name="connsiteY126" fmla="*/ 565547 h 684609"/>
              <a:gd name="connsiteX127" fmla="*/ 476250 w 863203"/>
              <a:gd name="connsiteY127" fmla="*/ 550664 h 684609"/>
              <a:gd name="connsiteX128" fmla="*/ 491133 w 863203"/>
              <a:gd name="connsiteY128" fmla="*/ 535781 h 684609"/>
              <a:gd name="connsiteX129" fmla="*/ 520898 w 863203"/>
              <a:gd name="connsiteY129" fmla="*/ 535781 h 684609"/>
              <a:gd name="connsiteX130" fmla="*/ 535781 w 863203"/>
              <a:gd name="connsiteY130" fmla="*/ 550664 h 684609"/>
              <a:gd name="connsiteX131" fmla="*/ 520898 w 863203"/>
              <a:gd name="connsiteY131" fmla="*/ 565547 h 684609"/>
              <a:gd name="connsiteX132" fmla="*/ 535781 w 863203"/>
              <a:gd name="connsiteY132" fmla="*/ 610195 h 684609"/>
              <a:gd name="connsiteX133" fmla="*/ 520898 w 863203"/>
              <a:gd name="connsiteY133" fmla="*/ 625078 h 684609"/>
              <a:gd name="connsiteX134" fmla="*/ 491133 w 863203"/>
              <a:gd name="connsiteY134" fmla="*/ 625078 h 684609"/>
              <a:gd name="connsiteX135" fmla="*/ 476250 w 863203"/>
              <a:gd name="connsiteY135" fmla="*/ 610195 h 684609"/>
              <a:gd name="connsiteX136" fmla="*/ 491133 w 863203"/>
              <a:gd name="connsiteY136" fmla="*/ 595313 h 684609"/>
              <a:gd name="connsiteX137" fmla="*/ 520898 w 863203"/>
              <a:gd name="connsiteY137" fmla="*/ 595313 h 684609"/>
              <a:gd name="connsiteX138" fmla="*/ 535781 w 863203"/>
              <a:gd name="connsiteY138" fmla="*/ 610195 h 684609"/>
              <a:gd name="connsiteX139" fmla="*/ 520898 w 863203"/>
              <a:gd name="connsiteY139" fmla="*/ 506016 h 684609"/>
              <a:gd name="connsiteX140" fmla="*/ 491133 w 863203"/>
              <a:gd name="connsiteY140" fmla="*/ 506016 h 684609"/>
              <a:gd name="connsiteX141" fmla="*/ 476250 w 863203"/>
              <a:gd name="connsiteY141" fmla="*/ 491133 h 684609"/>
              <a:gd name="connsiteX142" fmla="*/ 491133 w 863203"/>
              <a:gd name="connsiteY142" fmla="*/ 476250 h 684609"/>
              <a:gd name="connsiteX143" fmla="*/ 520898 w 863203"/>
              <a:gd name="connsiteY143" fmla="*/ 476250 h 684609"/>
              <a:gd name="connsiteX144" fmla="*/ 535781 w 863203"/>
              <a:gd name="connsiteY144" fmla="*/ 491133 h 684609"/>
              <a:gd name="connsiteX145" fmla="*/ 520898 w 863203"/>
              <a:gd name="connsiteY145" fmla="*/ 506016 h 684609"/>
              <a:gd name="connsiteX146" fmla="*/ 520898 w 863203"/>
              <a:gd name="connsiteY146" fmla="*/ 446484 h 684609"/>
              <a:gd name="connsiteX147" fmla="*/ 491133 w 863203"/>
              <a:gd name="connsiteY147" fmla="*/ 446484 h 684609"/>
              <a:gd name="connsiteX148" fmla="*/ 476250 w 863203"/>
              <a:gd name="connsiteY148" fmla="*/ 431602 h 684609"/>
              <a:gd name="connsiteX149" fmla="*/ 491133 w 863203"/>
              <a:gd name="connsiteY149" fmla="*/ 416719 h 684609"/>
              <a:gd name="connsiteX150" fmla="*/ 520898 w 863203"/>
              <a:gd name="connsiteY150" fmla="*/ 416719 h 684609"/>
              <a:gd name="connsiteX151" fmla="*/ 535781 w 863203"/>
              <a:gd name="connsiteY151" fmla="*/ 431602 h 684609"/>
              <a:gd name="connsiteX152" fmla="*/ 520898 w 863203"/>
              <a:gd name="connsiteY152" fmla="*/ 446484 h 684609"/>
              <a:gd name="connsiteX153" fmla="*/ 520898 w 863203"/>
              <a:gd name="connsiteY153" fmla="*/ 386953 h 684609"/>
              <a:gd name="connsiteX154" fmla="*/ 491133 w 863203"/>
              <a:gd name="connsiteY154" fmla="*/ 386953 h 684609"/>
              <a:gd name="connsiteX155" fmla="*/ 476250 w 863203"/>
              <a:gd name="connsiteY155" fmla="*/ 372070 h 684609"/>
              <a:gd name="connsiteX156" fmla="*/ 491133 w 863203"/>
              <a:gd name="connsiteY156" fmla="*/ 357188 h 684609"/>
              <a:gd name="connsiteX157" fmla="*/ 520898 w 863203"/>
              <a:gd name="connsiteY157" fmla="*/ 357188 h 684609"/>
              <a:gd name="connsiteX158" fmla="*/ 535781 w 863203"/>
              <a:gd name="connsiteY158" fmla="*/ 372070 h 684609"/>
              <a:gd name="connsiteX159" fmla="*/ 520898 w 863203"/>
              <a:gd name="connsiteY159" fmla="*/ 386953 h 684609"/>
              <a:gd name="connsiteX160" fmla="*/ 520898 w 863203"/>
              <a:gd name="connsiteY160" fmla="*/ 327422 h 684609"/>
              <a:gd name="connsiteX161" fmla="*/ 491133 w 863203"/>
              <a:gd name="connsiteY161" fmla="*/ 327422 h 684609"/>
              <a:gd name="connsiteX162" fmla="*/ 476250 w 863203"/>
              <a:gd name="connsiteY162" fmla="*/ 312539 h 684609"/>
              <a:gd name="connsiteX163" fmla="*/ 491133 w 863203"/>
              <a:gd name="connsiteY163" fmla="*/ 297656 h 684609"/>
              <a:gd name="connsiteX164" fmla="*/ 520898 w 863203"/>
              <a:gd name="connsiteY164" fmla="*/ 297656 h 684609"/>
              <a:gd name="connsiteX165" fmla="*/ 535781 w 863203"/>
              <a:gd name="connsiteY165" fmla="*/ 312539 h 684609"/>
              <a:gd name="connsiteX166" fmla="*/ 520898 w 863203"/>
              <a:gd name="connsiteY166" fmla="*/ 327422 h 684609"/>
              <a:gd name="connsiteX167" fmla="*/ 520898 w 863203"/>
              <a:gd name="connsiteY167" fmla="*/ 267891 h 684609"/>
              <a:gd name="connsiteX168" fmla="*/ 491133 w 863203"/>
              <a:gd name="connsiteY168" fmla="*/ 267891 h 684609"/>
              <a:gd name="connsiteX169" fmla="*/ 476250 w 863203"/>
              <a:gd name="connsiteY169" fmla="*/ 253008 h 684609"/>
              <a:gd name="connsiteX170" fmla="*/ 491133 w 863203"/>
              <a:gd name="connsiteY170" fmla="*/ 238125 h 684609"/>
              <a:gd name="connsiteX171" fmla="*/ 520898 w 863203"/>
              <a:gd name="connsiteY171" fmla="*/ 238125 h 684609"/>
              <a:gd name="connsiteX172" fmla="*/ 535781 w 863203"/>
              <a:gd name="connsiteY172" fmla="*/ 253008 h 684609"/>
              <a:gd name="connsiteX173" fmla="*/ 520898 w 863203"/>
              <a:gd name="connsiteY173" fmla="*/ 267891 h 684609"/>
              <a:gd name="connsiteX174" fmla="*/ 431602 w 863203"/>
              <a:gd name="connsiteY174" fmla="*/ 565547 h 684609"/>
              <a:gd name="connsiteX175" fmla="*/ 401836 w 863203"/>
              <a:gd name="connsiteY175" fmla="*/ 565547 h 684609"/>
              <a:gd name="connsiteX176" fmla="*/ 386953 w 863203"/>
              <a:gd name="connsiteY176" fmla="*/ 550664 h 684609"/>
              <a:gd name="connsiteX177" fmla="*/ 401836 w 863203"/>
              <a:gd name="connsiteY177" fmla="*/ 535781 h 684609"/>
              <a:gd name="connsiteX178" fmla="*/ 431602 w 863203"/>
              <a:gd name="connsiteY178" fmla="*/ 535781 h 684609"/>
              <a:gd name="connsiteX179" fmla="*/ 446484 w 863203"/>
              <a:gd name="connsiteY179" fmla="*/ 550664 h 684609"/>
              <a:gd name="connsiteX180" fmla="*/ 431602 w 863203"/>
              <a:gd name="connsiteY180" fmla="*/ 565547 h 684609"/>
              <a:gd name="connsiteX181" fmla="*/ 446484 w 863203"/>
              <a:gd name="connsiteY181" fmla="*/ 610195 h 684609"/>
              <a:gd name="connsiteX182" fmla="*/ 431602 w 863203"/>
              <a:gd name="connsiteY182" fmla="*/ 625078 h 684609"/>
              <a:gd name="connsiteX183" fmla="*/ 401836 w 863203"/>
              <a:gd name="connsiteY183" fmla="*/ 625078 h 684609"/>
              <a:gd name="connsiteX184" fmla="*/ 386953 w 863203"/>
              <a:gd name="connsiteY184" fmla="*/ 610195 h 684609"/>
              <a:gd name="connsiteX185" fmla="*/ 401836 w 863203"/>
              <a:gd name="connsiteY185" fmla="*/ 595313 h 684609"/>
              <a:gd name="connsiteX186" fmla="*/ 431602 w 863203"/>
              <a:gd name="connsiteY186" fmla="*/ 595313 h 684609"/>
              <a:gd name="connsiteX187" fmla="*/ 446484 w 863203"/>
              <a:gd name="connsiteY187" fmla="*/ 610195 h 684609"/>
              <a:gd name="connsiteX188" fmla="*/ 431602 w 863203"/>
              <a:gd name="connsiteY188" fmla="*/ 506016 h 684609"/>
              <a:gd name="connsiteX189" fmla="*/ 401836 w 863203"/>
              <a:gd name="connsiteY189" fmla="*/ 506016 h 684609"/>
              <a:gd name="connsiteX190" fmla="*/ 386953 w 863203"/>
              <a:gd name="connsiteY190" fmla="*/ 491133 h 684609"/>
              <a:gd name="connsiteX191" fmla="*/ 401836 w 863203"/>
              <a:gd name="connsiteY191" fmla="*/ 476250 h 684609"/>
              <a:gd name="connsiteX192" fmla="*/ 431602 w 863203"/>
              <a:gd name="connsiteY192" fmla="*/ 476250 h 684609"/>
              <a:gd name="connsiteX193" fmla="*/ 446484 w 863203"/>
              <a:gd name="connsiteY193" fmla="*/ 491133 h 684609"/>
              <a:gd name="connsiteX194" fmla="*/ 431602 w 863203"/>
              <a:gd name="connsiteY194" fmla="*/ 506016 h 684609"/>
              <a:gd name="connsiteX195" fmla="*/ 431602 w 863203"/>
              <a:gd name="connsiteY195" fmla="*/ 446484 h 684609"/>
              <a:gd name="connsiteX196" fmla="*/ 401836 w 863203"/>
              <a:gd name="connsiteY196" fmla="*/ 446484 h 684609"/>
              <a:gd name="connsiteX197" fmla="*/ 386953 w 863203"/>
              <a:gd name="connsiteY197" fmla="*/ 431602 h 684609"/>
              <a:gd name="connsiteX198" fmla="*/ 401836 w 863203"/>
              <a:gd name="connsiteY198" fmla="*/ 416719 h 684609"/>
              <a:gd name="connsiteX199" fmla="*/ 431602 w 863203"/>
              <a:gd name="connsiteY199" fmla="*/ 416719 h 684609"/>
              <a:gd name="connsiteX200" fmla="*/ 446484 w 863203"/>
              <a:gd name="connsiteY200" fmla="*/ 431602 h 684609"/>
              <a:gd name="connsiteX201" fmla="*/ 431602 w 863203"/>
              <a:gd name="connsiteY201" fmla="*/ 446484 h 684609"/>
              <a:gd name="connsiteX202" fmla="*/ 431602 w 863203"/>
              <a:gd name="connsiteY202" fmla="*/ 386953 h 684609"/>
              <a:gd name="connsiteX203" fmla="*/ 401836 w 863203"/>
              <a:gd name="connsiteY203" fmla="*/ 386953 h 684609"/>
              <a:gd name="connsiteX204" fmla="*/ 386953 w 863203"/>
              <a:gd name="connsiteY204" fmla="*/ 372070 h 684609"/>
              <a:gd name="connsiteX205" fmla="*/ 401836 w 863203"/>
              <a:gd name="connsiteY205" fmla="*/ 357188 h 684609"/>
              <a:gd name="connsiteX206" fmla="*/ 431602 w 863203"/>
              <a:gd name="connsiteY206" fmla="*/ 357188 h 684609"/>
              <a:gd name="connsiteX207" fmla="*/ 446484 w 863203"/>
              <a:gd name="connsiteY207" fmla="*/ 372070 h 684609"/>
              <a:gd name="connsiteX208" fmla="*/ 431602 w 863203"/>
              <a:gd name="connsiteY208" fmla="*/ 386953 h 684609"/>
              <a:gd name="connsiteX209" fmla="*/ 431602 w 863203"/>
              <a:gd name="connsiteY209" fmla="*/ 327422 h 684609"/>
              <a:gd name="connsiteX210" fmla="*/ 401836 w 863203"/>
              <a:gd name="connsiteY210" fmla="*/ 327422 h 684609"/>
              <a:gd name="connsiteX211" fmla="*/ 386953 w 863203"/>
              <a:gd name="connsiteY211" fmla="*/ 312539 h 684609"/>
              <a:gd name="connsiteX212" fmla="*/ 401836 w 863203"/>
              <a:gd name="connsiteY212" fmla="*/ 297656 h 684609"/>
              <a:gd name="connsiteX213" fmla="*/ 431602 w 863203"/>
              <a:gd name="connsiteY213" fmla="*/ 297656 h 684609"/>
              <a:gd name="connsiteX214" fmla="*/ 446484 w 863203"/>
              <a:gd name="connsiteY214" fmla="*/ 312539 h 684609"/>
              <a:gd name="connsiteX215" fmla="*/ 431602 w 863203"/>
              <a:gd name="connsiteY215" fmla="*/ 327422 h 684609"/>
              <a:gd name="connsiteX216" fmla="*/ 431602 w 863203"/>
              <a:gd name="connsiteY216" fmla="*/ 267891 h 684609"/>
              <a:gd name="connsiteX217" fmla="*/ 401836 w 863203"/>
              <a:gd name="connsiteY217" fmla="*/ 267891 h 684609"/>
              <a:gd name="connsiteX218" fmla="*/ 386953 w 863203"/>
              <a:gd name="connsiteY218" fmla="*/ 253008 h 684609"/>
              <a:gd name="connsiteX219" fmla="*/ 401836 w 863203"/>
              <a:gd name="connsiteY219" fmla="*/ 238125 h 684609"/>
              <a:gd name="connsiteX220" fmla="*/ 431602 w 863203"/>
              <a:gd name="connsiteY220" fmla="*/ 238125 h 684609"/>
              <a:gd name="connsiteX221" fmla="*/ 446484 w 863203"/>
              <a:gd name="connsiteY221" fmla="*/ 253008 h 684609"/>
              <a:gd name="connsiteX222" fmla="*/ 431602 w 863203"/>
              <a:gd name="connsiteY222" fmla="*/ 267891 h 68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863203" h="684609">
                <a:moveTo>
                  <a:pt x="848320" y="654844"/>
                </a:moveTo>
                <a:lnTo>
                  <a:pt x="773906" y="654844"/>
                </a:lnTo>
                <a:lnTo>
                  <a:pt x="773906" y="491133"/>
                </a:lnTo>
                <a:cubicBezTo>
                  <a:pt x="773906" y="485477"/>
                  <a:pt x="770632" y="480417"/>
                  <a:pt x="765572" y="477738"/>
                </a:cubicBezTo>
                <a:lnTo>
                  <a:pt x="595313" y="392609"/>
                </a:lnTo>
                <a:lnTo>
                  <a:pt x="595313" y="197346"/>
                </a:lnTo>
                <a:cubicBezTo>
                  <a:pt x="595610" y="196155"/>
                  <a:pt x="595908" y="194965"/>
                  <a:pt x="595908" y="193477"/>
                </a:cubicBezTo>
                <a:cubicBezTo>
                  <a:pt x="595908" y="191393"/>
                  <a:pt x="595313" y="189309"/>
                  <a:pt x="594122" y="187523"/>
                </a:cubicBezTo>
                <a:cubicBezTo>
                  <a:pt x="594122" y="186035"/>
                  <a:pt x="593229" y="184845"/>
                  <a:pt x="592038" y="183654"/>
                </a:cubicBezTo>
                <a:lnTo>
                  <a:pt x="564059" y="127397"/>
                </a:lnTo>
                <a:cubicBezTo>
                  <a:pt x="561380" y="122337"/>
                  <a:pt x="556320" y="119063"/>
                  <a:pt x="550664" y="119063"/>
                </a:cubicBezTo>
                <a:lnTo>
                  <a:pt x="506016" y="119063"/>
                </a:lnTo>
                <a:lnTo>
                  <a:pt x="506016" y="74414"/>
                </a:lnTo>
                <a:cubicBezTo>
                  <a:pt x="506016" y="66080"/>
                  <a:pt x="499467" y="59531"/>
                  <a:pt x="491133" y="59531"/>
                </a:cubicBezTo>
                <a:lnTo>
                  <a:pt x="476250" y="59531"/>
                </a:lnTo>
                <a:lnTo>
                  <a:pt x="476250" y="14883"/>
                </a:lnTo>
                <a:cubicBezTo>
                  <a:pt x="476250" y="6667"/>
                  <a:pt x="469582" y="0"/>
                  <a:pt x="461367" y="0"/>
                </a:cubicBezTo>
                <a:cubicBezTo>
                  <a:pt x="453152" y="0"/>
                  <a:pt x="446484" y="6667"/>
                  <a:pt x="446484" y="14883"/>
                </a:cubicBezTo>
                <a:lnTo>
                  <a:pt x="446484" y="59531"/>
                </a:lnTo>
                <a:lnTo>
                  <a:pt x="431602" y="59531"/>
                </a:lnTo>
                <a:cubicBezTo>
                  <a:pt x="423267" y="59531"/>
                  <a:pt x="416719" y="66080"/>
                  <a:pt x="416719" y="74414"/>
                </a:cubicBezTo>
                <a:lnTo>
                  <a:pt x="416719" y="119063"/>
                </a:lnTo>
                <a:lnTo>
                  <a:pt x="372070" y="119063"/>
                </a:lnTo>
                <a:cubicBezTo>
                  <a:pt x="366415" y="119063"/>
                  <a:pt x="361355" y="122337"/>
                  <a:pt x="358676" y="127397"/>
                </a:cubicBezTo>
                <a:lnTo>
                  <a:pt x="329803" y="185142"/>
                </a:lnTo>
                <a:lnTo>
                  <a:pt x="328910" y="186928"/>
                </a:lnTo>
                <a:cubicBezTo>
                  <a:pt x="328017" y="189012"/>
                  <a:pt x="327422" y="191393"/>
                  <a:pt x="327422" y="193774"/>
                </a:cubicBezTo>
                <a:lnTo>
                  <a:pt x="327422" y="297656"/>
                </a:lnTo>
                <a:lnTo>
                  <a:pt x="104180" y="297656"/>
                </a:lnTo>
                <a:cubicBezTo>
                  <a:pt x="95845" y="297656"/>
                  <a:pt x="89297" y="304205"/>
                  <a:pt x="89297" y="312539"/>
                </a:cubicBezTo>
                <a:lnTo>
                  <a:pt x="89297" y="654844"/>
                </a:lnTo>
                <a:lnTo>
                  <a:pt x="14883" y="654844"/>
                </a:lnTo>
                <a:cubicBezTo>
                  <a:pt x="6667" y="654844"/>
                  <a:pt x="0" y="661511"/>
                  <a:pt x="0" y="669727"/>
                </a:cubicBezTo>
                <a:cubicBezTo>
                  <a:pt x="0" y="677942"/>
                  <a:pt x="6667" y="684609"/>
                  <a:pt x="14883" y="684609"/>
                </a:cubicBezTo>
                <a:lnTo>
                  <a:pt x="104180" y="684609"/>
                </a:lnTo>
                <a:lnTo>
                  <a:pt x="342305" y="684609"/>
                </a:lnTo>
                <a:lnTo>
                  <a:pt x="580430" y="684609"/>
                </a:lnTo>
                <a:lnTo>
                  <a:pt x="759023" y="684609"/>
                </a:lnTo>
                <a:lnTo>
                  <a:pt x="848320" y="684609"/>
                </a:lnTo>
                <a:cubicBezTo>
                  <a:pt x="856536" y="684609"/>
                  <a:pt x="863203" y="677942"/>
                  <a:pt x="863203" y="669727"/>
                </a:cubicBezTo>
                <a:cubicBezTo>
                  <a:pt x="863203" y="661511"/>
                  <a:pt x="856536" y="654844"/>
                  <a:pt x="848320" y="654844"/>
                </a:cubicBezTo>
                <a:close/>
                <a:moveTo>
                  <a:pt x="282773" y="565547"/>
                </a:moveTo>
                <a:lnTo>
                  <a:pt x="253008" y="565547"/>
                </a:lnTo>
                <a:cubicBezTo>
                  <a:pt x="244673" y="565547"/>
                  <a:pt x="238125" y="558998"/>
                  <a:pt x="238125" y="550664"/>
                </a:cubicBezTo>
                <a:cubicBezTo>
                  <a:pt x="238125" y="542330"/>
                  <a:pt x="244673" y="535781"/>
                  <a:pt x="253008" y="535781"/>
                </a:cubicBezTo>
                <a:lnTo>
                  <a:pt x="282773" y="535781"/>
                </a:lnTo>
                <a:cubicBezTo>
                  <a:pt x="291108" y="535781"/>
                  <a:pt x="297656" y="542330"/>
                  <a:pt x="297656" y="550664"/>
                </a:cubicBezTo>
                <a:cubicBezTo>
                  <a:pt x="297656" y="558998"/>
                  <a:pt x="291108" y="565547"/>
                  <a:pt x="282773" y="565547"/>
                </a:cubicBezTo>
                <a:close/>
                <a:moveTo>
                  <a:pt x="297656" y="610195"/>
                </a:moveTo>
                <a:cubicBezTo>
                  <a:pt x="297656" y="618530"/>
                  <a:pt x="291108" y="625078"/>
                  <a:pt x="282773" y="625078"/>
                </a:cubicBezTo>
                <a:lnTo>
                  <a:pt x="253008" y="625078"/>
                </a:lnTo>
                <a:cubicBezTo>
                  <a:pt x="244673" y="625078"/>
                  <a:pt x="238125" y="618530"/>
                  <a:pt x="238125" y="610195"/>
                </a:cubicBezTo>
                <a:cubicBezTo>
                  <a:pt x="238125" y="601861"/>
                  <a:pt x="244673" y="595313"/>
                  <a:pt x="253008" y="595313"/>
                </a:cubicBezTo>
                <a:lnTo>
                  <a:pt x="282773" y="595313"/>
                </a:lnTo>
                <a:cubicBezTo>
                  <a:pt x="291108" y="595313"/>
                  <a:pt x="297656" y="601861"/>
                  <a:pt x="297656" y="610195"/>
                </a:cubicBezTo>
                <a:close/>
                <a:moveTo>
                  <a:pt x="282773" y="506016"/>
                </a:moveTo>
                <a:lnTo>
                  <a:pt x="253008" y="506016"/>
                </a:lnTo>
                <a:cubicBezTo>
                  <a:pt x="244673" y="506016"/>
                  <a:pt x="238125" y="499467"/>
                  <a:pt x="238125" y="491133"/>
                </a:cubicBezTo>
                <a:cubicBezTo>
                  <a:pt x="238125" y="482798"/>
                  <a:pt x="244673" y="476250"/>
                  <a:pt x="253008" y="476250"/>
                </a:cubicBezTo>
                <a:lnTo>
                  <a:pt x="282773" y="476250"/>
                </a:lnTo>
                <a:cubicBezTo>
                  <a:pt x="291108" y="476250"/>
                  <a:pt x="297656" y="482798"/>
                  <a:pt x="297656" y="491133"/>
                </a:cubicBezTo>
                <a:cubicBezTo>
                  <a:pt x="297656" y="499467"/>
                  <a:pt x="291108" y="506016"/>
                  <a:pt x="282773" y="506016"/>
                </a:cubicBezTo>
                <a:close/>
                <a:moveTo>
                  <a:pt x="282773" y="446484"/>
                </a:moveTo>
                <a:lnTo>
                  <a:pt x="253008" y="446484"/>
                </a:lnTo>
                <a:cubicBezTo>
                  <a:pt x="244673" y="446484"/>
                  <a:pt x="238125" y="439936"/>
                  <a:pt x="238125" y="431602"/>
                </a:cubicBezTo>
                <a:cubicBezTo>
                  <a:pt x="238125" y="423267"/>
                  <a:pt x="244673" y="416719"/>
                  <a:pt x="253008" y="416719"/>
                </a:cubicBezTo>
                <a:lnTo>
                  <a:pt x="282773" y="416719"/>
                </a:lnTo>
                <a:cubicBezTo>
                  <a:pt x="291108" y="416719"/>
                  <a:pt x="297656" y="423267"/>
                  <a:pt x="297656" y="431602"/>
                </a:cubicBezTo>
                <a:cubicBezTo>
                  <a:pt x="297656" y="439936"/>
                  <a:pt x="291108" y="446484"/>
                  <a:pt x="282773" y="446484"/>
                </a:cubicBezTo>
                <a:close/>
                <a:moveTo>
                  <a:pt x="282773" y="386953"/>
                </a:moveTo>
                <a:lnTo>
                  <a:pt x="253008" y="386953"/>
                </a:lnTo>
                <a:cubicBezTo>
                  <a:pt x="244673" y="386953"/>
                  <a:pt x="238125" y="380405"/>
                  <a:pt x="238125" y="372070"/>
                </a:cubicBezTo>
                <a:cubicBezTo>
                  <a:pt x="238125" y="363736"/>
                  <a:pt x="244673" y="357188"/>
                  <a:pt x="253008" y="357188"/>
                </a:cubicBezTo>
                <a:lnTo>
                  <a:pt x="282773" y="357188"/>
                </a:lnTo>
                <a:cubicBezTo>
                  <a:pt x="291108" y="357188"/>
                  <a:pt x="297656" y="363736"/>
                  <a:pt x="297656" y="372070"/>
                </a:cubicBezTo>
                <a:cubicBezTo>
                  <a:pt x="297656" y="380405"/>
                  <a:pt x="291108" y="386953"/>
                  <a:pt x="282773" y="386953"/>
                </a:cubicBezTo>
                <a:close/>
                <a:moveTo>
                  <a:pt x="193477" y="565547"/>
                </a:moveTo>
                <a:lnTo>
                  <a:pt x="163711" y="565547"/>
                </a:lnTo>
                <a:cubicBezTo>
                  <a:pt x="155377" y="565547"/>
                  <a:pt x="148828" y="558998"/>
                  <a:pt x="148828" y="550664"/>
                </a:cubicBezTo>
                <a:cubicBezTo>
                  <a:pt x="148828" y="542330"/>
                  <a:pt x="155377" y="535781"/>
                  <a:pt x="163711" y="535781"/>
                </a:cubicBezTo>
                <a:lnTo>
                  <a:pt x="193477" y="535781"/>
                </a:lnTo>
                <a:cubicBezTo>
                  <a:pt x="201811" y="535781"/>
                  <a:pt x="208359" y="542330"/>
                  <a:pt x="208359" y="550664"/>
                </a:cubicBezTo>
                <a:cubicBezTo>
                  <a:pt x="208359" y="558998"/>
                  <a:pt x="201811" y="565547"/>
                  <a:pt x="193477" y="565547"/>
                </a:cubicBezTo>
                <a:close/>
                <a:moveTo>
                  <a:pt x="208359" y="610195"/>
                </a:moveTo>
                <a:cubicBezTo>
                  <a:pt x="208359" y="618530"/>
                  <a:pt x="201811" y="625078"/>
                  <a:pt x="193477" y="625078"/>
                </a:cubicBezTo>
                <a:lnTo>
                  <a:pt x="163711" y="625078"/>
                </a:lnTo>
                <a:cubicBezTo>
                  <a:pt x="155377" y="625078"/>
                  <a:pt x="148828" y="618530"/>
                  <a:pt x="148828" y="610195"/>
                </a:cubicBezTo>
                <a:cubicBezTo>
                  <a:pt x="148828" y="601861"/>
                  <a:pt x="155377" y="595313"/>
                  <a:pt x="163711" y="595313"/>
                </a:cubicBezTo>
                <a:lnTo>
                  <a:pt x="193477" y="595313"/>
                </a:lnTo>
                <a:cubicBezTo>
                  <a:pt x="201811" y="595313"/>
                  <a:pt x="208359" y="601861"/>
                  <a:pt x="208359" y="610195"/>
                </a:cubicBezTo>
                <a:close/>
                <a:moveTo>
                  <a:pt x="193477" y="506016"/>
                </a:moveTo>
                <a:lnTo>
                  <a:pt x="163711" y="506016"/>
                </a:lnTo>
                <a:cubicBezTo>
                  <a:pt x="155377" y="506016"/>
                  <a:pt x="148828" y="499467"/>
                  <a:pt x="148828" y="491133"/>
                </a:cubicBezTo>
                <a:cubicBezTo>
                  <a:pt x="148828" y="482798"/>
                  <a:pt x="155377" y="476250"/>
                  <a:pt x="163711" y="476250"/>
                </a:cubicBezTo>
                <a:lnTo>
                  <a:pt x="193477" y="476250"/>
                </a:lnTo>
                <a:cubicBezTo>
                  <a:pt x="201811" y="476250"/>
                  <a:pt x="208359" y="482798"/>
                  <a:pt x="208359" y="491133"/>
                </a:cubicBezTo>
                <a:cubicBezTo>
                  <a:pt x="208359" y="499467"/>
                  <a:pt x="201811" y="506016"/>
                  <a:pt x="193477" y="506016"/>
                </a:cubicBezTo>
                <a:close/>
                <a:moveTo>
                  <a:pt x="193477" y="446484"/>
                </a:moveTo>
                <a:lnTo>
                  <a:pt x="163711" y="446484"/>
                </a:lnTo>
                <a:cubicBezTo>
                  <a:pt x="155377" y="446484"/>
                  <a:pt x="148828" y="439936"/>
                  <a:pt x="148828" y="431602"/>
                </a:cubicBezTo>
                <a:cubicBezTo>
                  <a:pt x="148828" y="423267"/>
                  <a:pt x="155377" y="416719"/>
                  <a:pt x="163711" y="416719"/>
                </a:cubicBezTo>
                <a:lnTo>
                  <a:pt x="193477" y="416719"/>
                </a:lnTo>
                <a:cubicBezTo>
                  <a:pt x="201811" y="416719"/>
                  <a:pt x="208359" y="423267"/>
                  <a:pt x="208359" y="431602"/>
                </a:cubicBezTo>
                <a:cubicBezTo>
                  <a:pt x="208359" y="439936"/>
                  <a:pt x="201811" y="446484"/>
                  <a:pt x="193477" y="446484"/>
                </a:cubicBezTo>
                <a:close/>
                <a:moveTo>
                  <a:pt x="193477" y="386953"/>
                </a:moveTo>
                <a:lnTo>
                  <a:pt x="163711" y="386953"/>
                </a:lnTo>
                <a:cubicBezTo>
                  <a:pt x="155377" y="386953"/>
                  <a:pt x="148828" y="380405"/>
                  <a:pt x="148828" y="372070"/>
                </a:cubicBezTo>
                <a:cubicBezTo>
                  <a:pt x="148828" y="363736"/>
                  <a:pt x="155377" y="357188"/>
                  <a:pt x="163711" y="357188"/>
                </a:cubicBezTo>
                <a:lnTo>
                  <a:pt x="193477" y="357188"/>
                </a:lnTo>
                <a:cubicBezTo>
                  <a:pt x="201811" y="357188"/>
                  <a:pt x="208359" y="363736"/>
                  <a:pt x="208359" y="372070"/>
                </a:cubicBezTo>
                <a:cubicBezTo>
                  <a:pt x="208359" y="380405"/>
                  <a:pt x="201811" y="386953"/>
                  <a:pt x="193477" y="386953"/>
                </a:cubicBezTo>
                <a:close/>
                <a:moveTo>
                  <a:pt x="639961" y="565547"/>
                </a:moveTo>
                <a:lnTo>
                  <a:pt x="669727" y="565547"/>
                </a:lnTo>
                <a:cubicBezTo>
                  <a:pt x="678061" y="565547"/>
                  <a:pt x="684609" y="572095"/>
                  <a:pt x="684609" y="580430"/>
                </a:cubicBezTo>
                <a:cubicBezTo>
                  <a:pt x="684609" y="588764"/>
                  <a:pt x="678061" y="595313"/>
                  <a:pt x="669727" y="595313"/>
                </a:cubicBezTo>
                <a:lnTo>
                  <a:pt x="639961" y="595313"/>
                </a:lnTo>
                <a:cubicBezTo>
                  <a:pt x="631627" y="595313"/>
                  <a:pt x="625078" y="588764"/>
                  <a:pt x="625078" y="580430"/>
                </a:cubicBezTo>
                <a:cubicBezTo>
                  <a:pt x="625078" y="572095"/>
                  <a:pt x="631627" y="565547"/>
                  <a:pt x="639961" y="565547"/>
                </a:cubicBezTo>
                <a:close/>
                <a:moveTo>
                  <a:pt x="625078" y="520898"/>
                </a:moveTo>
                <a:cubicBezTo>
                  <a:pt x="625078" y="512564"/>
                  <a:pt x="631627" y="506016"/>
                  <a:pt x="639961" y="506016"/>
                </a:cubicBezTo>
                <a:lnTo>
                  <a:pt x="669727" y="506016"/>
                </a:lnTo>
                <a:cubicBezTo>
                  <a:pt x="678061" y="506016"/>
                  <a:pt x="684609" y="512564"/>
                  <a:pt x="684609" y="520898"/>
                </a:cubicBezTo>
                <a:cubicBezTo>
                  <a:pt x="684609" y="529233"/>
                  <a:pt x="678061" y="535781"/>
                  <a:pt x="669727" y="535781"/>
                </a:cubicBezTo>
                <a:lnTo>
                  <a:pt x="639961" y="535781"/>
                </a:lnTo>
                <a:cubicBezTo>
                  <a:pt x="631627" y="535781"/>
                  <a:pt x="625078" y="529233"/>
                  <a:pt x="625078" y="520898"/>
                </a:cubicBezTo>
                <a:close/>
                <a:moveTo>
                  <a:pt x="520898" y="565547"/>
                </a:moveTo>
                <a:lnTo>
                  <a:pt x="491133" y="565547"/>
                </a:lnTo>
                <a:cubicBezTo>
                  <a:pt x="482798" y="565547"/>
                  <a:pt x="476250" y="558998"/>
                  <a:pt x="476250" y="550664"/>
                </a:cubicBezTo>
                <a:cubicBezTo>
                  <a:pt x="476250" y="542330"/>
                  <a:pt x="482798" y="535781"/>
                  <a:pt x="491133" y="535781"/>
                </a:cubicBezTo>
                <a:lnTo>
                  <a:pt x="520898" y="535781"/>
                </a:lnTo>
                <a:cubicBezTo>
                  <a:pt x="529233" y="535781"/>
                  <a:pt x="535781" y="542330"/>
                  <a:pt x="535781" y="550664"/>
                </a:cubicBezTo>
                <a:cubicBezTo>
                  <a:pt x="535781" y="558998"/>
                  <a:pt x="529233" y="565547"/>
                  <a:pt x="520898" y="565547"/>
                </a:cubicBezTo>
                <a:close/>
                <a:moveTo>
                  <a:pt x="535781" y="610195"/>
                </a:moveTo>
                <a:cubicBezTo>
                  <a:pt x="535781" y="618530"/>
                  <a:pt x="529233" y="625078"/>
                  <a:pt x="520898" y="625078"/>
                </a:cubicBezTo>
                <a:lnTo>
                  <a:pt x="491133" y="625078"/>
                </a:lnTo>
                <a:cubicBezTo>
                  <a:pt x="482798" y="625078"/>
                  <a:pt x="476250" y="618530"/>
                  <a:pt x="476250" y="610195"/>
                </a:cubicBezTo>
                <a:cubicBezTo>
                  <a:pt x="476250" y="601861"/>
                  <a:pt x="482798" y="595313"/>
                  <a:pt x="491133" y="595313"/>
                </a:cubicBezTo>
                <a:lnTo>
                  <a:pt x="520898" y="595313"/>
                </a:lnTo>
                <a:cubicBezTo>
                  <a:pt x="529233" y="595313"/>
                  <a:pt x="535781" y="601861"/>
                  <a:pt x="535781" y="610195"/>
                </a:cubicBezTo>
                <a:close/>
                <a:moveTo>
                  <a:pt x="520898" y="506016"/>
                </a:moveTo>
                <a:lnTo>
                  <a:pt x="491133" y="506016"/>
                </a:lnTo>
                <a:cubicBezTo>
                  <a:pt x="482798" y="506016"/>
                  <a:pt x="476250" y="499467"/>
                  <a:pt x="476250" y="491133"/>
                </a:cubicBezTo>
                <a:cubicBezTo>
                  <a:pt x="476250" y="482798"/>
                  <a:pt x="482798" y="476250"/>
                  <a:pt x="491133" y="476250"/>
                </a:cubicBezTo>
                <a:lnTo>
                  <a:pt x="520898" y="476250"/>
                </a:lnTo>
                <a:cubicBezTo>
                  <a:pt x="529233" y="476250"/>
                  <a:pt x="535781" y="482798"/>
                  <a:pt x="535781" y="491133"/>
                </a:cubicBezTo>
                <a:cubicBezTo>
                  <a:pt x="535781" y="499467"/>
                  <a:pt x="529233" y="506016"/>
                  <a:pt x="520898" y="506016"/>
                </a:cubicBezTo>
                <a:close/>
                <a:moveTo>
                  <a:pt x="520898" y="446484"/>
                </a:moveTo>
                <a:lnTo>
                  <a:pt x="491133" y="446484"/>
                </a:lnTo>
                <a:cubicBezTo>
                  <a:pt x="482798" y="446484"/>
                  <a:pt x="476250" y="439936"/>
                  <a:pt x="476250" y="431602"/>
                </a:cubicBezTo>
                <a:cubicBezTo>
                  <a:pt x="476250" y="423267"/>
                  <a:pt x="482798" y="416719"/>
                  <a:pt x="491133" y="416719"/>
                </a:cubicBezTo>
                <a:lnTo>
                  <a:pt x="520898" y="416719"/>
                </a:lnTo>
                <a:cubicBezTo>
                  <a:pt x="529233" y="416719"/>
                  <a:pt x="535781" y="423267"/>
                  <a:pt x="535781" y="431602"/>
                </a:cubicBezTo>
                <a:cubicBezTo>
                  <a:pt x="535781" y="439936"/>
                  <a:pt x="529233" y="446484"/>
                  <a:pt x="520898" y="446484"/>
                </a:cubicBezTo>
                <a:close/>
                <a:moveTo>
                  <a:pt x="520898" y="386953"/>
                </a:moveTo>
                <a:lnTo>
                  <a:pt x="491133" y="386953"/>
                </a:lnTo>
                <a:cubicBezTo>
                  <a:pt x="482798" y="386953"/>
                  <a:pt x="476250" y="380405"/>
                  <a:pt x="476250" y="372070"/>
                </a:cubicBezTo>
                <a:cubicBezTo>
                  <a:pt x="476250" y="363736"/>
                  <a:pt x="482798" y="357188"/>
                  <a:pt x="491133" y="357188"/>
                </a:cubicBezTo>
                <a:lnTo>
                  <a:pt x="520898" y="357188"/>
                </a:lnTo>
                <a:cubicBezTo>
                  <a:pt x="529233" y="357188"/>
                  <a:pt x="535781" y="363736"/>
                  <a:pt x="535781" y="372070"/>
                </a:cubicBezTo>
                <a:cubicBezTo>
                  <a:pt x="535781" y="380405"/>
                  <a:pt x="529233" y="386953"/>
                  <a:pt x="520898" y="386953"/>
                </a:cubicBezTo>
                <a:close/>
                <a:moveTo>
                  <a:pt x="520898" y="327422"/>
                </a:moveTo>
                <a:lnTo>
                  <a:pt x="491133" y="327422"/>
                </a:lnTo>
                <a:cubicBezTo>
                  <a:pt x="482798" y="327422"/>
                  <a:pt x="476250" y="320873"/>
                  <a:pt x="476250" y="312539"/>
                </a:cubicBezTo>
                <a:cubicBezTo>
                  <a:pt x="476250" y="304205"/>
                  <a:pt x="482798" y="297656"/>
                  <a:pt x="491133" y="297656"/>
                </a:cubicBezTo>
                <a:lnTo>
                  <a:pt x="520898" y="297656"/>
                </a:lnTo>
                <a:cubicBezTo>
                  <a:pt x="529233" y="297656"/>
                  <a:pt x="535781" y="304205"/>
                  <a:pt x="535781" y="312539"/>
                </a:cubicBezTo>
                <a:cubicBezTo>
                  <a:pt x="535781" y="320873"/>
                  <a:pt x="529233" y="327422"/>
                  <a:pt x="520898" y="327422"/>
                </a:cubicBezTo>
                <a:close/>
                <a:moveTo>
                  <a:pt x="520898" y="267891"/>
                </a:moveTo>
                <a:lnTo>
                  <a:pt x="491133" y="267891"/>
                </a:lnTo>
                <a:cubicBezTo>
                  <a:pt x="482798" y="267891"/>
                  <a:pt x="476250" y="261342"/>
                  <a:pt x="476250" y="253008"/>
                </a:cubicBezTo>
                <a:cubicBezTo>
                  <a:pt x="476250" y="244673"/>
                  <a:pt x="482798" y="238125"/>
                  <a:pt x="491133" y="238125"/>
                </a:cubicBezTo>
                <a:lnTo>
                  <a:pt x="520898" y="238125"/>
                </a:lnTo>
                <a:cubicBezTo>
                  <a:pt x="529233" y="238125"/>
                  <a:pt x="535781" y="244673"/>
                  <a:pt x="535781" y="253008"/>
                </a:cubicBezTo>
                <a:cubicBezTo>
                  <a:pt x="535781" y="261342"/>
                  <a:pt x="529233" y="267891"/>
                  <a:pt x="520898" y="267891"/>
                </a:cubicBezTo>
                <a:close/>
                <a:moveTo>
                  <a:pt x="431602" y="565547"/>
                </a:moveTo>
                <a:lnTo>
                  <a:pt x="401836" y="565547"/>
                </a:lnTo>
                <a:cubicBezTo>
                  <a:pt x="393502" y="565547"/>
                  <a:pt x="386953" y="558998"/>
                  <a:pt x="386953" y="550664"/>
                </a:cubicBezTo>
                <a:cubicBezTo>
                  <a:pt x="386953" y="542330"/>
                  <a:pt x="393502" y="535781"/>
                  <a:pt x="401836" y="535781"/>
                </a:cubicBezTo>
                <a:lnTo>
                  <a:pt x="431602" y="535781"/>
                </a:lnTo>
                <a:cubicBezTo>
                  <a:pt x="439936" y="535781"/>
                  <a:pt x="446484" y="542330"/>
                  <a:pt x="446484" y="550664"/>
                </a:cubicBezTo>
                <a:cubicBezTo>
                  <a:pt x="446484" y="558998"/>
                  <a:pt x="439936" y="565547"/>
                  <a:pt x="431602" y="565547"/>
                </a:cubicBezTo>
                <a:close/>
                <a:moveTo>
                  <a:pt x="446484" y="610195"/>
                </a:moveTo>
                <a:cubicBezTo>
                  <a:pt x="446484" y="618530"/>
                  <a:pt x="439936" y="625078"/>
                  <a:pt x="431602" y="625078"/>
                </a:cubicBezTo>
                <a:lnTo>
                  <a:pt x="401836" y="625078"/>
                </a:lnTo>
                <a:cubicBezTo>
                  <a:pt x="393502" y="625078"/>
                  <a:pt x="386953" y="618530"/>
                  <a:pt x="386953" y="610195"/>
                </a:cubicBezTo>
                <a:cubicBezTo>
                  <a:pt x="386953" y="601861"/>
                  <a:pt x="393502" y="595313"/>
                  <a:pt x="401836" y="595313"/>
                </a:cubicBezTo>
                <a:lnTo>
                  <a:pt x="431602" y="595313"/>
                </a:lnTo>
                <a:cubicBezTo>
                  <a:pt x="439936" y="595313"/>
                  <a:pt x="446484" y="601861"/>
                  <a:pt x="446484" y="610195"/>
                </a:cubicBezTo>
                <a:close/>
                <a:moveTo>
                  <a:pt x="431602" y="506016"/>
                </a:moveTo>
                <a:lnTo>
                  <a:pt x="401836" y="506016"/>
                </a:lnTo>
                <a:cubicBezTo>
                  <a:pt x="393502" y="506016"/>
                  <a:pt x="386953" y="499467"/>
                  <a:pt x="386953" y="491133"/>
                </a:cubicBezTo>
                <a:cubicBezTo>
                  <a:pt x="386953" y="482798"/>
                  <a:pt x="393502" y="476250"/>
                  <a:pt x="401836" y="476250"/>
                </a:cubicBezTo>
                <a:lnTo>
                  <a:pt x="431602" y="476250"/>
                </a:lnTo>
                <a:cubicBezTo>
                  <a:pt x="439936" y="476250"/>
                  <a:pt x="446484" y="482798"/>
                  <a:pt x="446484" y="491133"/>
                </a:cubicBezTo>
                <a:cubicBezTo>
                  <a:pt x="446484" y="499467"/>
                  <a:pt x="439936" y="506016"/>
                  <a:pt x="431602" y="506016"/>
                </a:cubicBezTo>
                <a:close/>
                <a:moveTo>
                  <a:pt x="431602" y="446484"/>
                </a:moveTo>
                <a:lnTo>
                  <a:pt x="401836" y="446484"/>
                </a:lnTo>
                <a:cubicBezTo>
                  <a:pt x="393502" y="446484"/>
                  <a:pt x="386953" y="439936"/>
                  <a:pt x="386953" y="431602"/>
                </a:cubicBezTo>
                <a:cubicBezTo>
                  <a:pt x="386953" y="423267"/>
                  <a:pt x="393502" y="416719"/>
                  <a:pt x="401836" y="416719"/>
                </a:cubicBezTo>
                <a:lnTo>
                  <a:pt x="431602" y="416719"/>
                </a:lnTo>
                <a:cubicBezTo>
                  <a:pt x="439936" y="416719"/>
                  <a:pt x="446484" y="423267"/>
                  <a:pt x="446484" y="431602"/>
                </a:cubicBezTo>
                <a:cubicBezTo>
                  <a:pt x="446484" y="439936"/>
                  <a:pt x="439936" y="446484"/>
                  <a:pt x="431602" y="446484"/>
                </a:cubicBezTo>
                <a:close/>
                <a:moveTo>
                  <a:pt x="431602" y="386953"/>
                </a:moveTo>
                <a:lnTo>
                  <a:pt x="401836" y="386953"/>
                </a:lnTo>
                <a:cubicBezTo>
                  <a:pt x="393502" y="386953"/>
                  <a:pt x="386953" y="380405"/>
                  <a:pt x="386953" y="372070"/>
                </a:cubicBezTo>
                <a:cubicBezTo>
                  <a:pt x="386953" y="363736"/>
                  <a:pt x="393502" y="357188"/>
                  <a:pt x="401836" y="357188"/>
                </a:cubicBezTo>
                <a:lnTo>
                  <a:pt x="431602" y="357188"/>
                </a:lnTo>
                <a:cubicBezTo>
                  <a:pt x="439936" y="357188"/>
                  <a:pt x="446484" y="363736"/>
                  <a:pt x="446484" y="372070"/>
                </a:cubicBezTo>
                <a:cubicBezTo>
                  <a:pt x="446484" y="380405"/>
                  <a:pt x="439936" y="386953"/>
                  <a:pt x="431602" y="386953"/>
                </a:cubicBezTo>
                <a:close/>
                <a:moveTo>
                  <a:pt x="431602" y="327422"/>
                </a:moveTo>
                <a:lnTo>
                  <a:pt x="401836" y="327422"/>
                </a:lnTo>
                <a:cubicBezTo>
                  <a:pt x="393502" y="327422"/>
                  <a:pt x="386953" y="320873"/>
                  <a:pt x="386953" y="312539"/>
                </a:cubicBezTo>
                <a:cubicBezTo>
                  <a:pt x="386953" y="304205"/>
                  <a:pt x="393502" y="297656"/>
                  <a:pt x="401836" y="297656"/>
                </a:cubicBezTo>
                <a:lnTo>
                  <a:pt x="431602" y="297656"/>
                </a:lnTo>
                <a:cubicBezTo>
                  <a:pt x="439936" y="297656"/>
                  <a:pt x="446484" y="304205"/>
                  <a:pt x="446484" y="312539"/>
                </a:cubicBezTo>
                <a:cubicBezTo>
                  <a:pt x="446484" y="320873"/>
                  <a:pt x="439936" y="327422"/>
                  <a:pt x="431602" y="327422"/>
                </a:cubicBezTo>
                <a:close/>
                <a:moveTo>
                  <a:pt x="431602" y="267891"/>
                </a:moveTo>
                <a:lnTo>
                  <a:pt x="401836" y="267891"/>
                </a:lnTo>
                <a:cubicBezTo>
                  <a:pt x="393502" y="267891"/>
                  <a:pt x="386953" y="261342"/>
                  <a:pt x="386953" y="253008"/>
                </a:cubicBezTo>
                <a:cubicBezTo>
                  <a:pt x="386953" y="244673"/>
                  <a:pt x="393502" y="238125"/>
                  <a:pt x="401836" y="238125"/>
                </a:cubicBezTo>
                <a:lnTo>
                  <a:pt x="431602" y="238125"/>
                </a:lnTo>
                <a:cubicBezTo>
                  <a:pt x="439936" y="238125"/>
                  <a:pt x="446484" y="244673"/>
                  <a:pt x="446484" y="253008"/>
                </a:cubicBezTo>
                <a:cubicBezTo>
                  <a:pt x="446484" y="261342"/>
                  <a:pt x="439936" y="267891"/>
                  <a:pt x="431602" y="267891"/>
                </a:cubicBezTo>
                <a:close/>
              </a:path>
            </a:pathLst>
          </a:custGeom>
          <a:solidFill>
            <a:srgbClr val="8D9399"/>
          </a:solidFill>
          <a:ln w="16422"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grpSp>
        <p:nvGrpSpPr>
          <p:cNvPr id="7" name="Group 6">
            <a:extLst>
              <a:ext uri="{FF2B5EF4-FFF2-40B4-BE49-F238E27FC236}">
                <a16:creationId xmlns:a16="http://schemas.microsoft.com/office/drawing/2014/main" id="{69F4C6F1-DCC1-4B0B-B418-98D6C70EF582}"/>
              </a:ext>
            </a:extLst>
          </p:cNvPr>
          <p:cNvGrpSpPr/>
          <p:nvPr/>
        </p:nvGrpSpPr>
        <p:grpSpPr>
          <a:xfrm>
            <a:off x="2612092" y="3665283"/>
            <a:ext cx="566896" cy="410728"/>
            <a:chOff x="2352796" y="5337429"/>
            <a:chExt cx="697718" cy="505511"/>
          </a:xfrm>
        </p:grpSpPr>
        <p:sp>
          <p:nvSpPr>
            <p:cNvPr id="64" name="Freeform: Shape 63">
              <a:extLst>
                <a:ext uri="{FF2B5EF4-FFF2-40B4-BE49-F238E27FC236}">
                  <a16:creationId xmlns:a16="http://schemas.microsoft.com/office/drawing/2014/main" id="{48CAD3E5-90A0-409F-BF42-7BAE67C6D8B5}"/>
                </a:ext>
              </a:extLst>
            </p:cNvPr>
            <p:cNvSpPr>
              <a:spLocks noChangeAspect="1"/>
            </p:cNvSpPr>
            <p:nvPr/>
          </p:nvSpPr>
          <p:spPr>
            <a:xfrm>
              <a:off x="2352796" y="5378568"/>
              <a:ext cx="464150" cy="464372"/>
            </a:xfrm>
            <a:custGeom>
              <a:avLst/>
              <a:gdLst>
                <a:gd name="connsiteX0" fmla="*/ 1830980 w 2896240"/>
                <a:gd name="connsiteY0" fmla="*/ 1855890 h 2897636"/>
                <a:gd name="connsiteX1" fmla="*/ 2012153 w 2896240"/>
                <a:gd name="connsiteY1" fmla="*/ 1855890 h 2897636"/>
                <a:gd name="connsiteX2" fmla="*/ 2012153 w 2896240"/>
                <a:gd name="connsiteY2" fmla="*/ 2046122 h 2897636"/>
                <a:gd name="connsiteX3" fmla="*/ 1830980 w 2896240"/>
                <a:gd name="connsiteY3" fmla="*/ 2046122 h 2897636"/>
                <a:gd name="connsiteX4" fmla="*/ 1581867 w 2896240"/>
                <a:gd name="connsiteY4" fmla="*/ 1855890 h 2897636"/>
                <a:gd name="connsiteX5" fmla="*/ 1740394 w 2896240"/>
                <a:gd name="connsiteY5" fmla="*/ 1855890 h 2897636"/>
                <a:gd name="connsiteX6" fmla="*/ 1740394 w 2896240"/>
                <a:gd name="connsiteY6" fmla="*/ 2091415 h 2897636"/>
                <a:gd name="connsiteX7" fmla="*/ 1785687 w 2896240"/>
                <a:gd name="connsiteY7" fmla="*/ 2136708 h 2897636"/>
                <a:gd name="connsiteX8" fmla="*/ 2057447 w 2896240"/>
                <a:gd name="connsiteY8" fmla="*/ 2136708 h 2897636"/>
                <a:gd name="connsiteX9" fmla="*/ 2102740 w 2896240"/>
                <a:gd name="connsiteY9" fmla="*/ 2091415 h 2897636"/>
                <a:gd name="connsiteX10" fmla="*/ 2102740 w 2896240"/>
                <a:gd name="connsiteY10" fmla="*/ 1855890 h 2897636"/>
                <a:gd name="connsiteX11" fmla="*/ 2261266 w 2896240"/>
                <a:gd name="connsiteY11" fmla="*/ 1855890 h 2897636"/>
                <a:gd name="connsiteX12" fmla="*/ 2351853 w 2896240"/>
                <a:gd name="connsiteY12" fmla="*/ 1946476 h 2897636"/>
                <a:gd name="connsiteX13" fmla="*/ 2351853 w 2896240"/>
                <a:gd name="connsiteY13" fmla="*/ 2489996 h 2897636"/>
                <a:gd name="connsiteX14" fmla="*/ 2261266 w 2896240"/>
                <a:gd name="connsiteY14" fmla="*/ 2580582 h 2897636"/>
                <a:gd name="connsiteX15" fmla="*/ 1581867 w 2896240"/>
                <a:gd name="connsiteY15" fmla="*/ 2580582 h 2897636"/>
                <a:gd name="connsiteX16" fmla="*/ 1491281 w 2896240"/>
                <a:gd name="connsiteY16" fmla="*/ 2489996 h 2897636"/>
                <a:gd name="connsiteX17" fmla="*/ 1491281 w 2896240"/>
                <a:gd name="connsiteY17" fmla="*/ 1946476 h 2897636"/>
                <a:gd name="connsiteX18" fmla="*/ 1581867 w 2896240"/>
                <a:gd name="connsiteY18" fmla="*/ 1855890 h 2897636"/>
                <a:gd name="connsiteX19" fmla="*/ 879822 w 2896240"/>
                <a:gd name="connsiteY19" fmla="*/ 1855890 h 2897636"/>
                <a:gd name="connsiteX20" fmla="*/ 1060995 w 2896240"/>
                <a:gd name="connsiteY20" fmla="*/ 1855890 h 2897636"/>
                <a:gd name="connsiteX21" fmla="*/ 1060995 w 2896240"/>
                <a:gd name="connsiteY21" fmla="*/ 2046122 h 2897636"/>
                <a:gd name="connsiteX22" fmla="*/ 879822 w 2896240"/>
                <a:gd name="connsiteY22" fmla="*/ 2046122 h 2897636"/>
                <a:gd name="connsiteX23" fmla="*/ 630708 w 2896240"/>
                <a:gd name="connsiteY23" fmla="*/ 1855890 h 2897636"/>
                <a:gd name="connsiteX24" fmla="*/ 789235 w 2896240"/>
                <a:gd name="connsiteY24" fmla="*/ 1855890 h 2897636"/>
                <a:gd name="connsiteX25" fmla="*/ 789235 w 2896240"/>
                <a:gd name="connsiteY25" fmla="*/ 2091415 h 2897636"/>
                <a:gd name="connsiteX26" fmla="*/ 834528 w 2896240"/>
                <a:gd name="connsiteY26" fmla="*/ 2136708 h 2897636"/>
                <a:gd name="connsiteX27" fmla="*/ 1106288 w 2896240"/>
                <a:gd name="connsiteY27" fmla="*/ 2136708 h 2897636"/>
                <a:gd name="connsiteX28" fmla="*/ 1151581 w 2896240"/>
                <a:gd name="connsiteY28" fmla="*/ 2091415 h 2897636"/>
                <a:gd name="connsiteX29" fmla="*/ 1151581 w 2896240"/>
                <a:gd name="connsiteY29" fmla="*/ 1855890 h 2897636"/>
                <a:gd name="connsiteX30" fmla="*/ 1310107 w 2896240"/>
                <a:gd name="connsiteY30" fmla="*/ 1855890 h 2897636"/>
                <a:gd name="connsiteX31" fmla="*/ 1400694 w 2896240"/>
                <a:gd name="connsiteY31" fmla="*/ 1946476 h 2897636"/>
                <a:gd name="connsiteX32" fmla="*/ 1400694 w 2896240"/>
                <a:gd name="connsiteY32" fmla="*/ 2489996 h 2897636"/>
                <a:gd name="connsiteX33" fmla="*/ 1310107 w 2896240"/>
                <a:gd name="connsiteY33" fmla="*/ 2580582 h 2897636"/>
                <a:gd name="connsiteX34" fmla="*/ 630708 w 2896240"/>
                <a:gd name="connsiteY34" fmla="*/ 2580582 h 2897636"/>
                <a:gd name="connsiteX35" fmla="*/ 540122 w 2896240"/>
                <a:gd name="connsiteY35" fmla="*/ 2489996 h 2897636"/>
                <a:gd name="connsiteX36" fmla="*/ 540122 w 2896240"/>
                <a:gd name="connsiteY36" fmla="*/ 1946476 h 2897636"/>
                <a:gd name="connsiteX37" fmla="*/ 630708 w 2896240"/>
                <a:gd name="connsiteY37" fmla="*/ 1855890 h 2897636"/>
                <a:gd name="connsiteX38" fmla="*/ 426889 w 2896240"/>
                <a:gd name="connsiteY38" fmla="*/ 1810597 h 2897636"/>
                <a:gd name="connsiteX39" fmla="*/ 426889 w 2896240"/>
                <a:gd name="connsiteY39" fmla="*/ 2671169 h 2897636"/>
                <a:gd name="connsiteX40" fmla="*/ 2465087 w 2896240"/>
                <a:gd name="connsiteY40" fmla="*/ 2671169 h 2897636"/>
                <a:gd name="connsiteX41" fmla="*/ 2465087 w 2896240"/>
                <a:gd name="connsiteY41" fmla="*/ 1810597 h 2897636"/>
                <a:gd name="connsiteX42" fmla="*/ 1830980 w 2896240"/>
                <a:gd name="connsiteY42" fmla="*/ 904731 h 2897636"/>
                <a:gd name="connsiteX43" fmla="*/ 2012153 w 2896240"/>
                <a:gd name="connsiteY43" fmla="*/ 904731 h 2897636"/>
                <a:gd name="connsiteX44" fmla="*/ 2012153 w 2896240"/>
                <a:gd name="connsiteY44" fmla="*/ 1094963 h 2897636"/>
                <a:gd name="connsiteX45" fmla="*/ 1830980 w 2896240"/>
                <a:gd name="connsiteY45" fmla="*/ 1094963 h 2897636"/>
                <a:gd name="connsiteX46" fmla="*/ 1581867 w 2896240"/>
                <a:gd name="connsiteY46" fmla="*/ 904731 h 2897636"/>
                <a:gd name="connsiteX47" fmla="*/ 1740394 w 2896240"/>
                <a:gd name="connsiteY47" fmla="*/ 904731 h 2897636"/>
                <a:gd name="connsiteX48" fmla="*/ 1740394 w 2896240"/>
                <a:gd name="connsiteY48" fmla="*/ 1140256 h 2897636"/>
                <a:gd name="connsiteX49" fmla="*/ 1785687 w 2896240"/>
                <a:gd name="connsiteY49" fmla="*/ 1185549 h 2897636"/>
                <a:gd name="connsiteX50" fmla="*/ 2057447 w 2896240"/>
                <a:gd name="connsiteY50" fmla="*/ 1185549 h 2897636"/>
                <a:gd name="connsiteX51" fmla="*/ 2102740 w 2896240"/>
                <a:gd name="connsiteY51" fmla="*/ 1140256 h 2897636"/>
                <a:gd name="connsiteX52" fmla="*/ 2102740 w 2896240"/>
                <a:gd name="connsiteY52" fmla="*/ 904731 h 2897636"/>
                <a:gd name="connsiteX53" fmla="*/ 2261266 w 2896240"/>
                <a:gd name="connsiteY53" fmla="*/ 904731 h 2897636"/>
                <a:gd name="connsiteX54" fmla="*/ 2351853 w 2896240"/>
                <a:gd name="connsiteY54" fmla="*/ 995317 h 2897636"/>
                <a:gd name="connsiteX55" fmla="*/ 2351853 w 2896240"/>
                <a:gd name="connsiteY55" fmla="*/ 1538837 h 2897636"/>
                <a:gd name="connsiteX56" fmla="*/ 2261266 w 2896240"/>
                <a:gd name="connsiteY56" fmla="*/ 1629423 h 2897636"/>
                <a:gd name="connsiteX57" fmla="*/ 1581867 w 2896240"/>
                <a:gd name="connsiteY57" fmla="*/ 1629423 h 2897636"/>
                <a:gd name="connsiteX58" fmla="*/ 1491281 w 2896240"/>
                <a:gd name="connsiteY58" fmla="*/ 1538837 h 2897636"/>
                <a:gd name="connsiteX59" fmla="*/ 1491281 w 2896240"/>
                <a:gd name="connsiteY59" fmla="*/ 995317 h 2897636"/>
                <a:gd name="connsiteX60" fmla="*/ 1581867 w 2896240"/>
                <a:gd name="connsiteY60" fmla="*/ 904731 h 2897636"/>
                <a:gd name="connsiteX61" fmla="*/ 879822 w 2896240"/>
                <a:gd name="connsiteY61" fmla="*/ 904731 h 2897636"/>
                <a:gd name="connsiteX62" fmla="*/ 1060995 w 2896240"/>
                <a:gd name="connsiteY62" fmla="*/ 904731 h 2897636"/>
                <a:gd name="connsiteX63" fmla="*/ 1060995 w 2896240"/>
                <a:gd name="connsiteY63" fmla="*/ 1094963 h 2897636"/>
                <a:gd name="connsiteX64" fmla="*/ 879822 w 2896240"/>
                <a:gd name="connsiteY64" fmla="*/ 1094963 h 2897636"/>
                <a:gd name="connsiteX65" fmla="*/ 630708 w 2896240"/>
                <a:gd name="connsiteY65" fmla="*/ 904731 h 2897636"/>
                <a:gd name="connsiteX66" fmla="*/ 789235 w 2896240"/>
                <a:gd name="connsiteY66" fmla="*/ 904731 h 2897636"/>
                <a:gd name="connsiteX67" fmla="*/ 789235 w 2896240"/>
                <a:gd name="connsiteY67" fmla="*/ 1140256 h 2897636"/>
                <a:gd name="connsiteX68" fmla="*/ 834528 w 2896240"/>
                <a:gd name="connsiteY68" fmla="*/ 1185549 h 2897636"/>
                <a:gd name="connsiteX69" fmla="*/ 1106288 w 2896240"/>
                <a:gd name="connsiteY69" fmla="*/ 1185549 h 2897636"/>
                <a:gd name="connsiteX70" fmla="*/ 1151581 w 2896240"/>
                <a:gd name="connsiteY70" fmla="*/ 1140256 h 2897636"/>
                <a:gd name="connsiteX71" fmla="*/ 1151581 w 2896240"/>
                <a:gd name="connsiteY71" fmla="*/ 904731 h 2897636"/>
                <a:gd name="connsiteX72" fmla="*/ 1310107 w 2896240"/>
                <a:gd name="connsiteY72" fmla="*/ 904731 h 2897636"/>
                <a:gd name="connsiteX73" fmla="*/ 1400694 w 2896240"/>
                <a:gd name="connsiteY73" fmla="*/ 995317 h 2897636"/>
                <a:gd name="connsiteX74" fmla="*/ 1400694 w 2896240"/>
                <a:gd name="connsiteY74" fmla="*/ 1538837 h 2897636"/>
                <a:gd name="connsiteX75" fmla="*/ 1310107 w 2896240"/>
                <a:gd name="connsiteY75" fmla="*/ 1629423 h 2897636"/>
                <a:gd name="connsiteX76" fmla="*/ 630708 w 2896240"/>
                <a:gd name="connsiteY76" fmla="*/ 1629423 h 2897636"/>
                <a:gd name="connsiteX77" fmla="*/ 540122 w 2896240"/>
                <a:gd name="connsiteY77" fmla="*/ 1538837 h 2897636"/>
                <a:gd name="connsiteX78" fmla="*/ 540122 w 2896240"/>
                <a:gd name="connsiteY78" fmla="*/ 995317 h 2897636"/>
                <a:gd name="connsiteX79" fmla="*/ 630708 w 2896240"/>
                <a:gd name="connsiteY79" fmla="*/ 904731 h 2897636"/>
                <a:gd name="connsiteX80" fmla="*/ 426889 w 2896240"/>
                <a:gd name="connsiteY80" fmla="*/ 800556 h 2897636"/>
                <a:gd name="connsiteX81" fmla="*/ 426889 w 2896240"/>
                <a:gd name="connsiteY81" fmla="*/ 1720011 h 2897636"/>
                <a:gd name="connsiteX82" fmla="*/ 2465087 w 2896240"/>
                <a:gd name="connsiteY82" fmla="*/ 1720011 h 2897636"/>
                <a:gd name="connsiteX83" fmla="*/ 2465087 w 2896240"/>
                <a:gd name="connsiteY83" fmla="*/ 800556 h 2897636"/>
                <a:gd name="connsiteX84" fmla="*/ 381596 w 2896240"/>
                <a:gd name="connsiteY84" fmla="*/ 709970 h 2897636"/>
                <a:gd name="connsiteX85" fmla="*/ 2510380 w 2896240"/>
                <a:gd name="connsiteY85" fmla="*/ 709970 h 2897636"/>
                <a:gd name="connsiteX86" fmla="*/ 2555674 w 2896240"/>
                <a:gd name="connsiteY86" fmla="*/ 755263 h 2897636"/>
                <a:gd name="connsiteX87" fmla="*/ 2555674 w 2896240"/>
                <a:gd name="connsiteY87" fmla="*/ 2852342 h 2897636"/>
                <a:gd name="connsiteX88" fmla="*/ 2510380 w 2896240"/>
                <a:gd name="connsiteY88" fmla="*/ 2897635 h 2897636"/>
                <a:gd name="connsiteX89" fmla="*/ 2465087 w 2896240"/>
                <a:gd name="connsiteY89" fmla="*/ 2852342 h 2897636"/>
                <a:gd name="connsiteX90" fmla="*/ 2465087 w 2896240"/>
                <a:gd name="connsiteY90" fmla="*/ 2761756 h 2897636"/>
                <a:gd name="connsiteX91" fmla="*/ 426889 w 2896240"/>
                <a:gd name="connsiteY91" fmla="*/ 2761756 h 2897636"/>
                <a:gd name="connsiteX92" fmla="*/ 426889 w 2896240"/>
                <a:gd name="connsiteY92" fmla="*/ 2852342 h 2897636"/>
                <a:gd name="connsiteX93" fmla="*/ 381596 w 2896240"/>
                <a:gd name="connsiteY93" fmla="*/ 2897635 h 2897636"/>
                <a:gd name="connsiteX94" fmla="*/ 336303 w 2896240"/>
                <a:gd name="connsiteY94" fmla="*/ 2852342 h 2897636"/>
                <a:gd name="connsiteX95" fmla="*/ 336303 w 2896240"/>
                <a:gd name="connsiteY95" fmla="*/ 755263 h 2897636"/>
                <a:gd name="connsiteX96" fmla="*/ 381596 w 2896240"/>
                <a:gd name="connsiteY96" fmla="*/ 709970 h 2897636"/>
                <a:gd name="connsiteX97" fmla="*/ 1427871 w 2896240"/>
                <a:gd name="connsiteY97" fmla="*/ 3396 h 2897636"/>
                <a:gd name="connsiteX98" fmla="*/ 1459576 w 2896240"/>
                <a:gd name="connsiteY98" fmla="*/ 3396 h 2897636"/>
                <a:gd name="connsiteX99" fmla="*/ 2863667 w 2896240"/>
                <a:gd name="connsiteY99" fmla="*/ 497092 h 2897636"/>
                <a:gd name="connsiteX100" fmla="*/ 2895373 w 2896240"/>
                <a:gd name="connsiteY100" fmla="*/ 551444 h 2897636"/>
                <a:gd name="connsiteX101" fmla="*/ 2850079 w 2896240"/>
                <a:gd name="connsiteY101" fmla="*/ 587679 h 2897636"/>
                <a:gd name="connsiteX102" fmla="*/ 2759493 w 2896240"/>
                <a:gd name="connsiteY102" fmla="*/ 587679 h 2897636"/>
                <a:gd name="connsiteX103" fmla="*/ 2759493 w 2896240"/>
                <a:gd name="connsiteY103" fmla="*/ 2852343 h 2897636"/>
                <a:gd name="connsiteX104" fmla="*/ 2714200 w 2896240"/>
                <a:gd name="connsiteY104" fmla="*/ 2897636 h 2897636"/>
                <a:gd name="connsiteX105" fmla="*/ 2668906 w 2896240"/>
                <a:gd name="connsiteY105" fmla="*/ 2852343 h 2897636"/>
                <a:gd name="connsiteX106" fmla="*/ 2668906 w 2896240"/>
                <a:gd name="connsiteY106" fmla="*/ 587679 h 2897636"/>
                <a:gd name="connsiteX107" fmla="*/ 223069 w 2896240"/>
                <a:gd name="connsiteY107" fmla="*/ 587679 h 2897636"/>
                <a:gd name="connsiteX108" fmla="*/ 223069 w 2896240"/>
                <a:gd name="connsiteY108" fmla="*/ 2852343 h 2897636"/>
                <a:gd name="connsiteX109" fmla="*/ 177776 w 2896240"/>
                <a:gd name="connsiteY109" fmla="*/ 2897636 h 2897636"/>
                <a:gd name="connsiteX110" fmla="*/ 132483 w 2896240"/>
                <a:gd name="connsiteY110" fmla="*/ 2852343 h 2897636"/>
                <a:gd name="connsiteX111" fmla="*/ 132483 w 2896240"/>
                <a:gd name="connsiteY111" fmla="*/ 587679 h 2897636"/>
                <a:gd name="connsiteX112" fmla="*/ 41896 w 2896240"/>
                <a:gd name="connsiteY112" fmla="*/ 587679 h 2897636"/>
                <a:gd name="connsiteX113" fmla="*/ 1132 w 2896240"/>
                <a:gd name="connsiteY113" fmla="*/ 546915 h 2897636"/>
                <a:gd name="connsiteX114" fmla="*/ 28308 w 2896240"/>
                <a:gd name="connsiteY114" fmla="*/ 497092 h 289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896240" h="2897636">
                  <a:moveTo>
                    <a:pt x="1830980" y="1855890"/>
                  </a:moveTo>
                  <a:lnTo>
                    <a:pt x="2012153" y="1855890"/>
                  </a:lnTo>
                  <a:lnTo>
                    <a:pt x="2012153" y="2046122"/>
                  </a:lnTo>
                  <a:lnTo>
                    <a:pt x="1830980" y="2046122"/>
                  </a:lnTo>
                  <a:close/>
                  <a:moveTo>
                    <a:pt x="1581867" y="1855890"/>
                  </a:moveTo>
                  <a:lnTo>
                    <a:pt x="1740394" y="1855890"/>
                  </a:lnTo>
                  <a:lnTo>
                    <a:pt x="1740394" y="2091415"/>
                  </a:lnTo>
                  <a:cubicBezTo>
                    <a:pt x="1740394" y="2118591"/>
                    <a:pt x="1758511" y="2136708"/>
                    <a:pt x="1785687" y="2136708"/>
                  </a:cubicBezTo>
                  <a:lnTo>
                    <a:pt x="2057447" y="2136708"/>
                  </a:lnTo>
                  <a:cubicBezTo>
                    <a:pt x="2084623" y="2136708"/>
                    <a:pt x="2102740" y="2118591"/>
                    <a:pt x="2102740" y="2091415"/>
                  </a:cubicBezTo>
                  <a:lnTo>
                    <a:pt x="2102740" y="1855890"/>
                  </a:lnTo>
                  <a:lnTo>
                    <a:pt x="2261266" y="1855890"/>
                  </a:lnTo>
                  <a:cubicBezTo>
                    <a:pt x="2311089" y="1855890"/>
                    <a:pt x="2351853" y="1896654"/>
                    <a:pt x="2351853" y="1946476"/>
                  </a:cubicBezTo>
                  <a:lnTo>
                    <a:pt x="2351853" y="2489996"/>
                  </a:lnTo>
                  <a:cubicBezTo>
                    <a:pt x="2351853" y="2539818"/>
                    <a:pt x="2311089" y="2580582"/>
                    <a:pt x="2261266" y="2580582"/>
                  </a:cubicBezTo>
                  <a:lnTo>
                    <a:pt x="1581867" y="2580582"/>
                  </a:lnTo>
                  <a:cubicBezTo>
                    <a:pt x="1532045" y="2580582"/>
                    <a:pt x="1491281" y="2539818"/>
                    <a:pt x="1491281" y="2489996"/>
                  </a:cubicBezTo>
                  <a:lnTo>
                    <a:pt x="1491281" y="1946476"/>
                  </a:lnTo>
                  <a:cubicBezTo>
                    <a:pt x="1491281" y="1896654"/>
                    <a:pt x="1532045" y="1855890"/>
                    <a:pt x="1581867" y="1855890"/>
                  </a:cubicBezTo>
                  <a:close/>
                  <a:moveTo>
                    <a:pt x="879822" y="1855890"/>
                  </a:moveTo>
                  <a:lnTo>
                    <a:pt x="1060995" y="1855890"/>
                  </a:lnTo>
                  <a:lnTo>
                    <a:pt x="1060995" y="2046122"/>
                  </a:lnTo>
                  <a:lnTo>
                    <a:pt x="879822" y="2046122"/>
                  </a:lnTo>
                  <a:close/>
                  <a:moveTo>
                    <a:pt x="630708" y="1855890"/>
                  </a:moveTo>
                  <a:lnTo>
                    <a:pt x="789235" y="1855890"/>
                  </a:lnTo>
                  <a:lnTo>
                    <a:pt x="789235" y="2091415"/>
                  </a:lnTo>
                  <a:cubicBezTo>
                    <a:pt x="789235" y="2118591"/>
                    <a:pt x="807352" y="2136708"/>
                    <a:pt x="834528" y="2136708"/>
                  </a:cubicBezTo>
                  <a:lnTo>
                    <a:pt x="1106288" y="2136708"/>
                  </a:lnTo>
                  <a:cubicBezTo>
                    <a:pt x="1133464" y="2136708"/>
                    <a:pt x="1151581" y="2118591"/>
                    <a:pt x="1151581" y="2091415"/>
                  </a:cubicBezTo>
                  <a:lnTo>
                    <a:pt x="1151581" y="1855890"/>
                  </a:lnTo>
                  <a:lnTo>
                    <a:pt x="1310107" y="1855890"/>
                  </a:lnTo>
                  <a:cubicBezTo>
                    <a:pt x="1359930" y="1855890"/>
                    <a:pt x="1400694" y="1896654"/>
                    <a:pt x="1400694" y="1946476"/>
                  </a:cubicBezTo>
                  <a:lnTo>
                    <a:pt x="1400694" y="2489996"/>
                  </a:lnTo>
                  <a:cubicBezTo>
                    <a:pt x="1400694" y="2539818"/>
                    <a:pt x="1359930" y="2580582"/>
                    <a:pt x="1310107" y="2580582"/>
                  </a:cubicBezTo>
                  <a:lnTo>
                    <a:pt x="630708" y="2580582"/>
                  </a:lnTo>
                  <a:cubicBezTo>
                    <a:pt x="580886" y="2580582"/>
                    <a:pt x="540122" y="2539818"/>
                    <a:pt x="540122" y="2489996"/>
                  </a:cubicBezTo>
                  <a:lnTo>
                    <a:pt x="540122" y="1946476"/>
                  </a:lnTo>
                  <a:cubicBezTo>
                    <a:pt x="540122" y="1896654"/>
                    <a:pt x="580886" y="1855890"/>
                    <a:pt x="630708" y="1855890"/>
                  </a:cubicBezTo>
                  <a:close/>
                  <a:moveTo>
                    <a:pt x="426889" y="1810597"/>
                  </a:moveTo>
                  <a:lnTo>
                    <a:pt x="426889" y="2671169"/>
                  </a:lnTo>
                  <a:lnTo>
                    <a:pt x="2465087" y="2671169"/>
                  </a:lnTo>
                  <a:lnTo>
                    <a:pt x="2465087" y="1810597"/>
                  </a:lnTo>
                  <a:close/>
                  <a:moveTo>
                    <a:pt x="1830980" y="904731"/>
                  </a:moveTo>
                  <a:lnTo>
                    <a:pt x="2012153" y="904731"/>
                  </a:lnTo>
                  <a:lnTo>
                    <a:pt x="2012153" y="1094963"/>
                  </a:lnTo>
                  <a:lnTo>
                    <a:pt x="1830980" y="1094963"/>
                  </a:lnTo>
                  <a:close/>
                  <a:moveTo>
                    <a:pt x="1581867" y="904731"/>
                  </a:moveTo>
                  <a:lnTo>
                    <a:pt x="1740394" y="904731"/>
                  </a:lnTo>
                  <a:lnTo>
                    <a:pt x="1740394" y="1140256"/>
                  </a:lnTo>
                  <a:cubicBezTo>
                    <a:pt x="1740394" y="1167432"/>
                    <a:pt x="1758511" y="1185549"/>
                    <a:pt x="1785687" y="1185549"/>
                  </a:cubicBezTo>
                  <a:lnTo>
                    <a:pt x="2057447" y="1185549"/>
                  </a:lnTo>
                  <a:cubicBezTo>
                    <a:pt x="2084623" y="1185549"/>
                    <a:pt x="2102740" y="1167432"/>
                    <a:pt x="2102740" y="1140256"/>
                  </a:cubicBezTo>
                  <a:lnTo>
                    <a:pt x="2102740" y="904731"/>
                  </a:lnTo>
                  <a:lnTo>
                    <a:pt x="2261266" y="904731"/>
                  </a:lnTo>
                  <a:cubicBezTo>
                    <a:pt x="2311089" y="904731"/>
                    <a:pt x="2351853" y="945495"/>
                    <a:pt x="2351853" y="995317"/>
                  </a:cubicBezTo>
                  <a:lnTo>
                    <a:pt x="2351853" y="1538837"/>
                  </a:lnTo>
                  <a:cubicBezTo>
                    <a:pt x="2351853" y="1588659"/>
                    <a:pt x="2311089" y="1629423"/>
                    <a:pt x="2261266" y="1629423"/>
                  </a:cubicBezTo>
                  <a:lnTo>
                    <a:pt x="1581867" y="1629423"/>
                  </a:lnTo>
                  <a:cubicBezTo>
                    <a:pt x="1532045" y="1629423"/>
                    <a:pt x="1491281" y="1588659"/>
                    <a:pt x="1491281" y="1538837"/>
                  </a:cubicBezTo>
                  <a:lnTo>
                    <a:pt x="1491281" y="995317"/>
                  </a:lnTo>
                  <a:cubicBezTo>
                    <a:pt x="1491281" y="945495"/>
                    <a:pt x="1532045" y="904731"/>
                    <a:pt x="1581867" y="904731"/>
                  </a:cubicBezTo>
                  <a:close/>
                  <a:moveTo>
                    <a:pt x="879822" y="904731"/>
                  </a:moveTo>
                  <a:lnTo>
                    <a:pt x="1060995" y="904731"/>
                  </a:lnTo>
                  <a:lnTo>
                    <a:pt x="1060995" y="1094963"/>
                  </a:lnTo>
                  <a:lnTo>
                    <a:pt x="879822" y="1094963"/>
                  </a:lnTo>
                  <a:close/>
                  <a:moveTo>
                    <a:pt x="630708" y="904731"/>
                  </a:moveTo>
                  <a:lnTo>
                    <a:pt x="789235" y="904731"/>
                  </a:lnTo>
                  <a:lnTo>
                    <a:pt x="789235" y="1140256"/>
                  </a:lnTo>
                  <a:cubicBezTo>
                    <a:pt x="789235" y="1167432"/>
                    <a:pt x="807352" y="1185549"/>
                    <a:pt x="834528" y="1185549"/>
                  </a:cubicBezTo>
                  <a:lnTo>
                    <a:pt x="1106288" y="1185549"/>
                  </a:lnTo>
                  <a:cubicBezTo>
                    <a:pt x="1133464" y="1185549"/>
                    <a:pt x="1151581" y="1167432"/>
                    <a:pt x="1151581" y="1140256"/>
                  </a:cubicBezTo>
                  <a:lnTo>
                    <a:pt x="1151581" y="904731"/>
                  </a:lnTo>
                  <a:lnTo>
                    <a:pt x="1310107" y="904731"/>
                  </a:lnTo>
                  <a:cubicBezTo>
                    <a:pt x="1359930" y="904731"/>
                    <a:pt x="1400694" y="945495"/>
                    <a:pt x="1400694" y="995317"/>
                  </a:cubicBezTo>
                  <a:lnTo>
                    <a:pt x="1400694" y="1538837"/>
                  </a:lnTo>
                  <a:cubicBezTo>
                    <a:pt x="1400694" y="1588659"/>
                    <a:pt x="1359930" y="1629423"/>
                    <a:pt x="1310107" y="1629423"/>
                  </a:cubicBezTo>
                  <a:lnTo>
                    <a:pt x="630708" y="1629423"/>
                  </a:lnTo>
                  <a:cubicBezTo>
                    <a:pt x="580886" y="1629423"/>
                    <a:pt x="540122" y="1588659"/>
                    <a:pt x="540122" y="1538837"/>
                  </a:cubicBezTo>
                  <a:lnTo>
                    <a:pt x="540122" y="995317"/>
                  </a:lnTo>
                  <a:cubicBezTo>
                    <a:pt x="540122" y="945495"/>
                    <a:pt x="580886" y="904731"/>
                    <a:pt x="630708" y="904731"/>
                  </a:cubicBezTo>
                  <a:close/>
                  <a:moveTo>
                    <a:pt x="426889" y="800556"/>
                  </a:moveTo>
                  <a:lnTo>
                    <a:pt x="426889" y="1720011"/>
                  </a:lnTo>
                  <a:lnTo>
                    <a:pt x="2465087" y="1720011"/>
                  </a:lnTo>
                  <a:lnTo>
                    <a:pt x="2465087" y="800556"/>
                  </a:lnTo>
                  <a:close/>
                  <a:moveTo>
                    <a:pt x="381596" y="709970"/>
                  </a:moveTo>
                  <a:lnTo>
                    <a:pt x="2510380" y="709970"/>
                  </a:lnTo>
                  <a:cubicBezTo>
                    <a:pt x="2533027" y="709970"/>
                    <a:pt x="2555674" y="728087"/>
                    <a:pt x="2555674" y="755263"/>
                  </a:cubicBezTo>
                  <a:lnTo>
                    <a:pt x="2555674" y="2852342"/>
                  </a:lnTo>
                  <a:cubicBezTo>
                    <a:pt x="2555674" y="2879518"/>
                    <a:pt x="2537556" y="2897635"/>
                    <a:pt x="2510380" y="2897635"/>
                  </a:cubicBezTo>
                  <a:cubicBezTo>
                    <a:pt x="2483205" y="2897635"/>
                    <a:pt x="2465087" y="2879518"/>
                    <a:pt x="2465087" y="2852342"/>
                  </a:cubicBezTo>
                  <a:lnTo>
                    <a:pt x="2465087" y="2761756"/>
                  </a:lnTo>
                  <a:lnTo>
                    <a:pt x="426889" y="2761756"/>
                  </a:lnTo>
                  <a:lnTo>
                    <a:pt x="426889" y="2852342"/>
                  </a:lnTo>
                  <a:cubicBezTo>
                    <a:pt x="426889" y="2879518"/>
                    <a:pt x="408772" y="2897635"/>
                    <a:pt x="381596" y="2897635"/>
                  </a:cubicBezTo>
                  <a:cubicBezTo>
                    <a:pt x="354420" y="2897635"/>
                    <a:pt x="336303" y="2879518"/>
                    <a:pt x="336303" y="2852342"/>
                  </a:cubicBezTo>
                  <a:lnTo>
                    <a:pt x="336303" y="755263"/>
                  </a:lnTo>
                  <a:cubicBezTo>
                    <a:pt x="336303" y="728087"/>
                    <a:pt x="354420" y="709970"/>
                    <a:pt x="381596" y="709970"/>
                  </a:cubicBezTo>
                  <a:close/>
                  <a:moveTo>
                    <a:pt x="1427871" y="3396"/>
                  </a:moveTo>
                  <a:cubicBezTo>
                    <a:pt x="1441459" y="-1133"/>
                    <a:pt x="1450518" y="-1133"/>
                    <a:pt x="1459576" y="3396"/>
                  </a:cubicBezTo>
                  <a:lnTo>
                    <a:pt x="2863667" y="497092"/>
                  </a:lnTo>
                  <a:cubicBezTo>
                    <a:pt x="2886314" y="506151"/>
                    <a:pt x="2899902" y="524268"/>
                    <a:pt x="2895373" y="551444"/>
                  </a:cubicBezTo>
                  <a:cubicBezTo>
                    <a:pt x="2890843" y="569562"/>
                    <a:pt x="2872726" y="587679"/>
                    <a:pt x="2850079" y="587679"/>
                  </a:cubicBezTo>
                  <a:lnTo>
                    <a:pt x="2759493" y="587679"/>
                  </a:lnTo>
                  <a:lnTo>
                    <a:pt x="2759493" y="2852343"/>
                  </a:lnTo>
                  <a:cubicBezTo>
                    <a:pt x="2759493" y="2874990"/>
                    <a:pt x="2736846" y="2897636"/>
                    <a:pt x="2714200" y="2897636"/>
                  </a:cubicBezTo>
                  <a:cubicBezTo>
                    <a:pt x="2691553" y="2897636"/>
                    <a:pt x="2668906" y="2874990"/>
                    <a:pt x="2668906" y="2852343"/>
                  </a:cubicBezTo>
                  <a:lnTo>
                    <a:pt x="2668906" y="587679"/>
                  </a:lnTo>
                  <a:lnTo>
                    <a:pt x="223069" y="587679"/>
                  </a:lnTo>
                  <a:lnTo>
                    <a:pt x="223069" y="2852343"/>
                  </a:lnTo>
                  <a:cubicBezTo>
                    <a:pt x="223069" y="2874990"/>
                    <a:pt x="200423" y="2897636"/>
                    <a:pt x="177776" y="2897636"/>
                  </a:cubicBezTo>
                  <a:cubicBezTo>
                    <a:pt x="155129" y="2897636"/>
                    <a:pt x="132483" y="2874990"/>
                    <a:pt x="132483" y="2852343"/>
                  </a:cubicBezTo>
                  <a:lnTo>
                    <a:pt x="132483" y="587679"/>
                  </a:lnTo>
                  <a:lnTo>
                    <a:pt x="41896" y="587679"/>
                  </a:lnTo>
                  <a:cubicBezTo>
                    <a:pt x="19250" y="587679"/>
                    <a:pt x="1132" y="569562"/>
                    <a:pt x="1132" y="546915"/>
                  </a:cubicBezTo>
                  <a:cubicBezTo>
                    <a:pt x="-3397" y="524268"/>
                    <a:pt x="5662" y="506151"/>
                    <a:pt x="28308" y="497092"/>
                  </a:cubicBezTo>
                  <a:close/>
                </a:path>
              </a:pathLst>
            </a:custGeom>
            <a:solidFill>
              <a:schemeClr val="bg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pic>
          <p:nvPicPr>
            <p:cNvPr id="5" name="Graphic 4">
              <a:extLst>
                <a:ext uri="{FF2B5EF4-FFF2-40B4-BE49-F238E27FC236}">
                  <a16:creationId xmlns:a16="http://schemas.microsoft.com/office/drawing/2014/main" id="{735B35AB-41A9-4C5C-8A80-5B6F41AE87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0310" y="5337429"/>
              <a:ext cx="300204" cy="300204"/>
            </a:xfrm>
            <a:prstGeom prst="rect">
              <a:avLst/>
            </a:prstGeom>
          </p:spPr>
        </p:pic>
      </p:grpSp>
      <p:sp>
        <p:nvSpPr>
          <p:cNvPr id="69" name="Freeform: Shape 68">
            <a:extLst>
              <a:ext uri="{FF2B5EF4-FFF2-40B4-BE49-F238E27FC236}">
                <a16:creationId xmlns:a16="http://schemas.microsoft.com/office/drawing/2014/main" id="{42B2F406-F6C2-40BE-8C01-916F793330D1}"/>
              </a:ext>
            </a:extLst>
          </p:cNvPr>
          <p:cNvSpPr>
            <a:spLocks noChangeAspect="1"/>
          </p:cNvSpPr>
          <p:nvPr/>
        </p:nvSpPr>
        <p:spPr>
          <a:xfrm>
            <a:off x="2030482" y="4944298"/>
            <a:ext cx="302092" cy="431560"/>
          </a:xfrm>
          <a:custGeom>
            <a:avLst/>
            <a:gdLst>
              <a:gd name="connsiteX0" fmla="*/ 2364275 w 2482489"/>
              <a:gd name="connsiteY0" fmla="*/ 3428199 h 3546413"/>
              <a:gd name="connsiteX1" fmla="*/ 2482489 w 2482489"/>
              <a:gd name="connsiteY1" fmla="*/ 3428199 h 3546413"/>
              <a:gd name="connsiteX2" fmla="*/ 2482489 w 2482489"/>
              <a:gd name="connsiteY2" fmla="*/ 3546413 h 3546413"/>
              <a:gd name="connsiteX3" fmla="*/ 2364275 w 2482489"/>
              <a:gd name="connsiteY3" fmla="*/ 3546413 h 3546413"/>
              <a:gd name="connsiteX4" fmla="*/ 118214 w 2482489"/>
              <a:gd name="connsiteY4" fmla="*/ 3428199 h 3546413"/>
              <a:gd name="connsiteX5" fmla="*/ 236428 w 2482489"/>
              <a:gd name="connsiteY5" fmla="*/ 3428199 h 3546413"/>
              <a:gd name="connsiteX6" fmla="*/ 236428 w 2482489"/>
              <a:gd name="connsiteY6" fmla="*/ 3546413 h 3546413"/>
              <a:gd name="connsiteX7" fmla="*/ 118214 w 2482489"/>
              <a:gd name="connsiteY7" fmla="*/ 3546413 h 3546413"/>
              <a:gd name="connsiteX8" fmla="*/ 768390 w 2482489"/>
              <a:gd name="connsiteY8" fmla="*/ 3250878 h 3546413"/>
              <a:gd name="connsiteX9" fmla="*/ 1004818 w 2482489"/>
              <a:gd name="connsiteY9" fmla="*/ 3250878 h 3546413"/>
              <a:gd name="connsiteX10" fmla="*/ 1004818 w 2482489"/>
              <a:gd name="connsiteY10" fmla="*/ 3487306 h 3546413"/>
              <a:gd name="connsiteX11" fmla="*/ 768390 w 2482489"/>
              <a:gd name="connsiteY11" fmla="*/ 3487306 h 3546413"/>
              <a:gd name="connsiteX12" fmla="*/ 1891420 w 2482489"/>
              <a:gd name="connsiteY12" fmla="*/ 3191771 h 3546413"/>
              <a:gd name="connsiteX13" fmla="*/ 2009634 w 2482489"/>
              <a:gd name="connsiteY13" fmla="*/ 3191771 h 3546413"/>
              <a:gd name="connsiteX14" fmla="*/ 2009634 w 2482489"/>
              <a:gd name="connsiteY14" fmla="*/ 3309985 h 3546413"/>
              <a:gd name="connsiteX15" fmla="*/ 1891420 w 2482489"/>
              <a:gd name="connsiteY15" fmla="*/ 3309985 h 3546413"/>
              <a:gd name="connsiteX16" fmla="*/ 1359458 w 2482489"/>
              <a:gd name="connsiteY16" fmla="*/ 3132665 h 3546413"/>
              <a:gd name="connsiteX17" fmla="*/ 1595886 w 2482489"/>
              <a:gd name="connsiteY17" fmla="*/ 3132665 h 3546413"/>
              <a:gd name="connsiteX18" fmla="*/ 1595886 w 2482489"/>
              <a:gd name="connsiteY18" fmla="*/ 3369093 h 3546413"/>
              <a:gd name="connsiteX19" fmla="*/ 1359458 w 2482489"/>
              <a:gd name="connsiteY19" fmla="*/ 3369093 h 3546413"/>
              <a:gd name="connsiteX20" fmla="*/ 295535 w 2482489"/>
              <a:gd name="connsiteY20" fmla="*/ 3014451 h 3546413"/>
              <a:gd name="connsiteX21" fmla="*/ 531963 w 2482489"/>
              <a:gd name="connsiteY21" fmla="*/ 3014451 h 3546413"/>
              <a:gd name="connsiteX22" fmla="*/ 531963 w 2482489"/>
              <a:gd name="connsiteY22" fmla="*/ 3250879 h 3546413"/>
              <a:gd name="connsiteX23" fmla="*/ 295535 w 2482489"/>
              <a:gd name="connsiteY23" fmla="*/ 3250879 h 3546413"/>
              <a:gd name="connsiteX24" fmla="*/ 2246061 w 2482489"/>
              <a:gd name="connsiteY24" fmla="*/ 2837130 h 3546413"/>
              <a:gd name="connsiteX25" fmla="*/ 2364275 w 2482489"/>
              <a:gd name="connsiteY25" fmla="*/ 2837130 h 3546413"/>
              <a:gd name="connsiteX26" fmla="*/ 2364275 w 2482489"/>
              <a:gd name="connsiteY26" fmla="*/ 2955344 h 3546413"/>
              <a:gd name="connsiteX27" fmla="*/ 2246061 w 2482489"/>
              <a:gd name="connsiteY27" fmla="*/ 2955344 h 3546413"/>
              <a:gd name="connsiteX28" fmla="*/ 1832313 w 2482489"/>
              <a:gd name="connsiteY28" fmla="*/ 2778023 h 3546413"/>
              <a:gd name="connsiteX29" fmla="*/ 2068741 w 2482489"/>
              <a:gd name="connsiteY29" fmla="*/ 2778023 h 3546413"/>
              <a:gd name="connsiteX30" fmla="*/ 2068741 w 2482489"/>
              <a:gd name="connsiteY30" fmla="*/ 3014451 h 3546413"/>
              <a:gd name="connsiteX31" fmla="*/ 1832313 w 2482489"/>
              <a:gd name="connsiteY31" fmla="*/ 3014451 h 3546413"/>
              <a:gd name="connsiteX32" fmla="*/ 0 w 2482489"/>
              <a:gd name="connsiteY32" fmla="*/ 2718916 h 3546413"/>
              <a:gd name="connsiteX33" fmla="*/ 118214 w 2482489"/>
              <a:gd name="connsiteY33" fmla="*/ 2718916 h 3546413"/>
              <a:gd name="connsiteX34" fmla="*/ 118214 w 2482489"/>
              <a:gd name="connsiteY34" fmla="*/ 2837130 h 3546413"/>
              <a:gd name="connsiteX35" fmla="*/ 0 w 2482489"/>
              <a:gd name="connsiteY35" fmla="*/ 2837130 h 3546413"/>
              <a:gd name="connsiteX36" fmla="*/ 1773206 w 2482489"/>
              <a:gd name="connsiteY36" fmla="*/ 2482489 h 3546413"/>
              <a:gd name="connsiteX37" fmla="*/ 1891420 w 2482489"/>
              <a:gd name="connsiteY37" fmla="*/ 2482489 h 3546413"/>
              <a:gd name="connsiteX38" fmla="*/ 1891420 w 2482489"/>
              <a:gd name="connsiteY38" fmla="*/ 2600703 h 3546413"/>
              <a:gd name="connsiteX39" fmla="*/ 1773206 w 2482489"/>
              <a:gd name="connsiteY39" fmla="*/ 2600703 h 3546413"/>
              <a:gd name="connsiteX40" fmla="*/ 1832313 w 2482489"/>
              <a:gd name="connsiteY40" fmla="*/ 768389 h 3546413"/>
              <a:gd name="connsiteX41" fmla="*/ 1404380 w 2482489"/>
              <a:gd name="connsiteY41" fmla="*/ 821881 h 3546413"/>
              <a:gd name="connsiteX42" fmla="*/ 886603 w 2482489"/>
              <a:gd name="connsiteY42" fmla="*/ 1408399 h 3546413"/>
              <a:gd name="connsiteX43" fmla="*/ 886603 w 2482489"/>
              <a:gd name="connsiteY43" fmla="*/ 1630522 h 3546413"/>
              <a:gd name="connsiteX44" fmla="*/ 608387 w 2482489"/>
              <a:gd name="connsiteY44" fmla="*/ 1908738 h 3546413"/>
              <a:gd name="connsiteX45" fmla="*/ 691965 w 2482489"/>
              <a:gd name="connsiteY45" fmla="*/ 1992316 h 3546413"/>
              <a:gd name="connsiteX46" fmla="*/ 970180 w 2482489"/>
              <a:gd name="connsiteY46" fmla="*/ 1714100 h 3546413"/>
              <a:gd name="connsiteX47" fmla="*/ 886603 w 2482489"/>
              <a:gd name="connsiteY47" fmla="*/ 1630523 h 3546413"/>
              <a:gd name="connsiteX48" fmla="*/ 1063924 w 2482489"/>
              <a:gd name="connsiteY48" fmla="*/ 1453202 h 3546413"/>
              <a:gd name="connsiteX49" fmla="*/ 1063924 w 2482489"/>
              <a:gd name="connsiteY49" fmla="*/ 1182138 h 3546413"/>
              <a:gd name="connsiteX50" fmla="*/ 1182137 w 2482489"/>
              <a:gd name="connsiteY50" fmla="*/ 1182138 h 3546413"/>
              <a:gd name="connsiteX51" fmla="*/ 1182137 w 2482489"/>
              <a:gd name="connsiteY51" fmla="*/ 1334988 h 3546413"/>
              <a:gd name="connsiteX52" fmla="*/ 1300351 w 2482489"/>
              <a:gd name="connsiteY52" fmla="*/ 1216774 h 3546413"/>
              <a:gd name="connsiteX53" fmla="*/ 1300351 w 2482489"/>
              <a:gd name="connsiteY53" fmla="*/ 1063924 h 3546413"/>
              <a:gd name="connsiteX54" fmla="*/ 1418565 w 2482489"/>
              <a:gd name="connsiteY54" fmla="*/ 1063924 h 3546413"/>
              <a:gd name="connsiteX55" fmla="*/ 1418565 w 2482489"/>
              <a:gd name="connsiteY55" fmla="*/ 1182138 h 3546413"/>
              <a:gd name="connsiteX56" fmla="*/ 1536779 w 2482489"/>
              <a:gd name="connsiteY56" fmla="*/ 1182138 h 3546413"/>
              <a:gd name="connsiteX57" fmla="*/ 1536779 w 2482489"/>
              <a:gd name="connsiteY57" fmla="*/ 1300352 h 3546413"/>
              <a:gd name="connsiteX58" fmla="*/ 1383928 w 2482489"/>
              <a:gd name="connsiteY58" fmla="*/ 1300352 h 3546413"/>
              <a:gd name="connsiteX59" fmla="*/ 1265715 w 2482489"/>
              <a:gd name="connsiteY59" fmla="*/ 1418565 h 3546413"/>
              <a:gd name="connsiteX60" fmla="*/ 1418565 w 2482489"/>
              <a:gd name="connsiteY60" fmla="*/ 1418565 h 3546413"/>
              <a:gd name="connsiteX61" fmla="*/ 1418565 w 2482489"/>
              <a:gd name="connsiteY61" fmla="*/ 1536779 h 3546413"/>
              <a:gd name="connsiteX62" fmla="*/ 1147501 w 2482489"/>
              <a:gd name="connsiteY62" fmla="*/ 1536779 h 3546413"/>
              <a:gd name="connsiteX63" fmla="*/ 970181 w 2482489"/>
              <a:gd name="connsiteY63" fmla="*/ 1714099 h 3546413"/>
              <a:gd name="connsiteX64" fmla="*/ 1192304 w 2482489"/>
              <a:gd name="connsiteY64" fmla="*/ 1714099 h 3546413"/>
              <a:gd name="connsiteX65" fmla="*/ 1778822 w 2482489"/>
              <a:gd name="connsiteY65" fmla="*/ 1196323 h 3546413"/>
              <a:gd name="connsiteX66" fmla="*/ 236428 w 2482489"/>
              <a:gd name="connsiteY66" fmla="*/ 591069 h 3546413"/>
              <a:gd name="connsiteX67" fmla="*/ 236428 w 2482489"/>
              <a:gd name="connsiteY67" fmla="*/ 709283 h 3546413"/>
              <a:gd name="connsiteX68" fmla="*/ 827497 w 2482489"/>
              <a:gd name="connsiteY68" fmla="*/ 709283 h 3546413"/>
              <a:gd name="connsiteX69" fmla="*/ 827497 w 2482489"/>
              <a:gd name="connsiteY69" fmla="*/ 591069 h 3546413"/>
              <a:gd name="connsiteX70" fmla="*/ 236428 w 2482489"/>
              <a:gd name="connsiteY70" fmla="*/ 354641 h 3546413"/>
              <a:gd name="connsiteX71" fmla="*/ 236428 w 2482489"/>
              <a:gd name="connsiteY71" fmla="*/ 472855 h 3546413"/>
              <a:gd name="connsiteX72" fmla="*/ 1063924 w 2482489"/>
              <a:gd name="connsiteY72" fmla="*/ 472855 h 3546413"/>
              <a:gd name="connsiteX73" fmla="*/ 1063924 w 2482489"/>
              <a:gd name="connsiteY73" fmla="*/ 354641 h 3546413"/>
              <a:gd name="connsiteX74" fmla="*/ 236428 w 2482489"/>
              <a:gd name="connsiteY74" fmla="*/ 118214 h 3546413"/>
              <a:gd name="connsiteX75" fmla="*/ 236428 w 2482489"/>
              <a:gd name="connsiteY75" fmla="*/ 236428 h 3546413"/>
              <a:gd name="connsiteX76" fmla="*/ 1300352 w 2482489"/>
              <a:gd name="connsiteY76" fmla="*/ 236428 h 3546413"/>
              <a:gd name="connsiteX77" fmla="*/ 1300352 w 2482489"/>
              <a:gd name="connsiteY77" fmla="*/ 118214 h 3546413"/>
              <a:gd name="connsiteX78" fmla="*/ 2009634 w 2482489"/>
              <a:gd name="connsiteY78" fmla="*/ 83577 h 3546413"/>
              <a:gd name="connsiteX79" fmla="*/ 2280698 w 2482489"/>
              <a:gd name="connsiteY79" fmla="*/ 354641 h 3546413"/>
              <a:gd name="connsiteX80" fmla="*/ 2009634 w 2482489"/>
              <a:gd name="connsiteY80" fmla="*/ 354641 h 3546413"/>
              <a:gd name="connsiteX81" fmla="*/ 118214 w 2482489"/>
              <a:gd name="connsiteY81" fmla="*/ 0 h 3546413"/>
              <a:gd name="connsiteX82" fmla="*/ 1891420 w 2482489"/>
              <a:gd name="connsiteY82" fmla="*/ 0 h 3546413"/>
              <a:gd name="connsiteX83" fmla="*/ 1891420 w 2482489"/>
              <a:gd name="connsiteY83" fmla="*/ 472855 h 3546413"/>
              <a:gd name="connsiteX84" fmla="*/ 2364275 w 2482489"/>
              <a:gd name="connsiteY84" fmla="*/ 472855 h 3546413"/>
              <a:gd name="connsiteX85" fmla="*/ 2364275 w 2482489"/>
              <a:gd name="connsiteY85" fmla="*/ 2482489 h 3546413"/>
              <a:gd name="connsiteX86" fmla="*/ 2246062 w 2482489"/>
              <a:gd name="connsiteY86" fmla="*/ 2482489 h 3546413"/>
              <a:gd name="connsiteX87" fmla="*/ 2246062 w 2482489"/>
              <a:gd name="connsiteY87" fmla="*/ 1891420 h 3546413"/>
              <a:gd name="connsiteX88" fmla="*/ 2127848 w 2482489"/>
              <a:gd name="connsiteY88" fmla="*/ 1891420 h 3546413"/>
              <a:gd name="connsiteX89" fmla="*/ 2127848 w 2482489"/>
              <a:gd name="connsiteY89" fmla="*/ 2246061 h 3546413"/>
              <a:gd name="connsiteX90" fmla="*/ 2009634 w 2482489"/>
              <a:gd name="connsiteY90" fmla="*/ 2246061 h 3546413"/>
              <a:gd name="connsiteX91" fmla="*/ 2009634 w 2482489"/>
              <a:gd name="connsiteY91" fmla="*/ 2009634 h 3546413"/>
              <a:gd name="connsiteX92" fmla="*/ 1891420 w 2482489"/>
              <a:gd name="connsiteY92" fmla="*/ 2009634 h 3546413"/>
              <a:gd name="connsiteX93" fmla="*/ 1891420 w 2482489"/>
              <a:gd name="connsiteY93" fmla="*/ 2127848 h 3546413"/>
              <a:gd name="connsiteX94" fmla="*/ 1536779 w 2482489"/>
              <a:gd name="connsiteY94" fmla="*/ 2127848 h 3546413"/>
              <a:gd name="connsiteX95" fmla="*/ 1536779 w 2482489"/>
              <a:gd name="connsiteY95" fmla="*/ 2600703 h 3546413"/>
              <a:gd name="connsiteX96" fmla="*/ 1418565 w 2482489"/>
              <a:gd name="connsiteY96" fmla="*/ 2600703 h 3546413"/>
              <a:gd name="connsiteX97" fmla="*/ 1418565 w 2482489"/>
              <a:gd name="connsiteY97" fmla="*/ 2837130 h 3546413"/>
              <a:gd name="connsiteX98" fmla="*/ 1300352 w 2482489"/>
              <a:gd name="connsiteY98" fmla="*/ 2837130 h 3546413"/>
              <a:gd name="connsiteX99" fmla="*/ 1300352 w 2482489"/>
              <a:gd name="connsiteY99" fmla="*/ 2482489 h 3546413"/>
              <a:gd name="connsiteX100" fmla="*/ 945710 w 2482489"/>
              <a:gd name="connsiteY100" fmla="*/ 2482489 h 3546413"/>
              <a:gd name="connsiteX101" fmla="*/ 945710 w 2482489"/>
              <a:gd name="connsiteY101" fmla="*/ 2955344 h 3546413"/>
              <a:gd name="connsiteX102" fmla="*/ 827497 w 2482489"/>
              <a:gd name="connsiteY102" fmla="*/ 2955344 h 3546413"/>
              <a:gd name="connsiteX103" fmla="*/ 827497 w 2482489"/>
              <a:gd name="connsiteY103" fmla="*/ 2600703 h 3546413"/>
              <a:gd name="connsiteX104" fmla="*/ 709283 w 2482489"/>
              <a:gd name="connsiteY104" fmla="*/ 2600703 h 3546413"/>
              <a:gd name="connsiteX105" fmla="*/ 709283 w 2482489"/>
              <a:gd name="connsiteY105" fmla="*/ 2718916 h 3546413"/>
              <a:gd name="connsiteX106" fmla="*/ 591069 w 2482489"/>
              <a:gd name="connsiteY106" fmla="*/ 2718916 h 3546413"/>
              <a:gd name="connsiteX107" fmla="*/ 591069 w 2482489"/>
              <a:gd name="connsiteY107" fmla="*/ 2246061 h 3546413"/>
              <a:gd name="connsiteX108" fmla="*/ 236428 w 2482489"/>
              <a:gd name="connsiteY108" fmla="*/ 2246061 h 3546413"/>
              <a:gd name="connsiteX109" fmla="*/ 236428 w 2482489"/>
              <a:gd name="connsiteY109" fmla="*/ 2482489 h 3546413"/>
              <a:gd name="connsiteX110" fmla="*/ 118214 w 2482489"/>
              <a:gd name="connsiteY110" fmla="*/ 2482489 h 354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482489" h="3546413">
                <a:moveTo>
                  <a:pt x="2364275" y="3428199"/>
                </a:moveTo>
                <a:lnTo>
                  <a:pt x="2482489" y="3428199"/>
                </a:lnTo>
                <a:lnTo>
                  <a:pt x="2482489" y="3546413"/>
                </a:lnTo>
                <a:lnTo>
                  <a:pt x="2364275" y="3546413"/>
                </a:lnTo>
                <a:close/>
                <a:moveTo>
                  <a:pt x="118214" y="3428199"/>
                </a:moveTo>
                <a:lnTo>
                  <a:pt x="236428" y="3428199"/>
                </a:lnTo>
                <a:lnTo>
                  <a:pt x="236428" y="3546413"/>
                </a:lnTo>
                <a:lnTo>
                  <a:pt x="118214" y="3546413"/>
                </a:lnTo>
                <a:close/>
                <a:moveTo>
                  <a:pt x="768390" y="3250878"/>
                </a:moveTo>
                <a:lnTo>
                  <a:pt x="1004818" y="3250878"/>
                </a:lnTo>
                <a:lnTo>
                  <a:pt x="1004818" y="3487306"/>
                </a:lnTo>
                <a:lnTo>
                  <a:pt x="768390" y="3487306"/>
                </a:lnTo>
                <a:close/>
                <a:moveTo>
                  <a:pt x="1891420" y="3191771"/>
                </a:moveTo>
                <a:lnTo>
                  <a:pt x="2009634" y="3191771"/>
                </a:lnTo>
                <a:lnTo>
                  <a:pt x="2009634" y="3309985"/>
                </a:lnTo>
                <a:lnTo>
                  <a:pt x="1891420" y="3309985"/>
                </a:lnTo>
                <a:close/>
                <a:moveTo>
                  <a:pt x="1359458" y="3132665"/>
                </a:moveTo>
                <a:lnTo>
                  <a:pt x="1595886" y="3132665"/>
                </a:lnTo>
                <a:lnTo>
                  <a:pt x="1595886" y="3369093"/>
                </a:lnTo>
                <a:lnTo>
                  <a:pt x="1359458" y="3369093"/>
                </a:lnTo>
                <a:close/>
                <a:moveTo>
                  <a:pt x="295535" y="3014451"/>
                </a:moveTo>
                <a:lnTo>
                  <a:pt x="531963" y="3014451"/>
                </a:lnTo>
                <a:lnTo>
                  <a:pt x="531963" y="3250879"/>
                </a:lnTo>
                <a:lnTo>
                  <a:pt x="295535" y="3250879"/>
                </a:lnTo>
                <a:close/>
                <a:moveTo>
                  <a:pt x="2246061" y="2837130"/>
                </a:moveTo>
                <a:lnTo>
                  <a:pt x="2364275" y="2837130"/>
                </a:lnTo>
                <a:lnTo>
                  <a:pt x="2364275" y="2955344"/>
                </a:lnTo>
                <a:lnTo>
                  <a:pt x="2246061" y="2955344"/>
                </a:lnTo>
                <a:close/>
                <a:moveTo>
                  <a:pt x="1832313" y="2778023"/>
                </a:moveTo>
                <a:lnTo>
                  <a:pt x="2068741" y="2778023"/>
                </a:lnTo>
                <a:lnTo>
                  <a:pt x="2068741" y="3014451"/>
                </a:lnTo>
                <a:lnTo>
                  <a:pt x="1832313" y="3014451"/>
                </a:lnTo>
                <a:close/>
                <a:moveTo>
                  <a:pt x="0" y="2718916"/>
                </a:moveTo>
                <a:lnTo>
                  <a:pt x="118214" y="2718916"/>
                </a:lnTo>
                <a:lnTo>
                  <a:pt x="118214" y="2837130"/>
                </a:lnTo>
                <a:lnTo>
                  <a:pt x="0" y="2837130"/>
                </a:lnTo>
                <a:close/>
                <a:moveTo>
                  <a:pt x="1773206" y="2482489"/>
                </a:moveTo>
                <a:lnTo>
                  <a:pt x="1891420" y="2482489"/>
                </a:lnTo>
                <a:lnTo>
                  <a:pt x="1891420" y="2600703"/>
                </a:lnTo>
                <a:lnTo>
                  <a:pt x="1773206" y="2600703"/>
                </a:lnTo>
                <a:close/>
                <a:moveTo>
                  <a:pt x="1832313" y="768389"/>
                </a:moveTo>
                <a:lnTo>
                  <a:pt x="1404380" y="821881"/>
                </a:lnTo>
                <a:cubicBezTo>
                  <a:pt x="1108550" y="858882"/>
                  <a:pt x="886603" y="1110323"/>
                  <a:pt x="886603" y="1408399"/>
                </a:cubicBezTo>
                <a:lnTo>
                  <a:pt x="886603" y="1630522"/>
                </a:lnTo>
                <a:lnTo>
                  <a:pt x="608387" y="1908738"/>
                </a:lnTo>
                <a:lnTo>
                  <a:pt x="691965" y="1992316"/>
                </a:lnTo>
                <a:lnTo>
                  <a:pt x="970180" y="1714100"/>
                </a:lnTo>
                <a:lnTo>
                  <a:pt x="886603" y="1630523"/>
                </a:lnTo>
                <a:lnTo>
                  <a:pt x="1063924" y="1453202"/>
                </a:lnTo>
                <a:lnTo>
                  <a:pt x="1063924" y="1182138"/>
                </a:lnTo>
                <a:lnTo>
                  <a:pt x="1182137" y="1182138"/>
                </a:lnTo>
                <a:lnTo>
                  <a:pt x="1182137" y="1334988"/>
                </a:lnTo>
                <a:lnTo>
                  <a:pt x="1300351" y="1216774"/>
                </a:lnTo>
                <a:lnTo>
                  <a:pt x="1300351" y="1063924"/>
                </a:lnTo>
                <a:lnTo>
                  <a:pt x="1418565" y="1063924"/>
                </a:lnTo>
                <a:lnTo>
                  <a:pt x="1418565" y="1182138"/>
                </a:lnTo>
                <a:lnTo>
                  <a:pt x="1536779" y="1182138"/>
                </a:lnTo>
                <a:lnTo>
                  <a:pt x="1536779" y="1300352"/>
                </a:lnTo>
                <a:lnTo>
                  <a:pt x="1383928" y="1300352"/>
                </a:lnTo>
                <a:lnTo>
                  <a:pt x="1265715" y="1418565"/>
                </a:lnTo>
                <a:lnTo>
                  <a:pt x="1418565" y="1418565"/>
                </a:lnTo>
                <a:lnTo>
                  <a:pt x="1418565" y="1536779"/>
                </a:lnTo>
                <a:lnTo>
                  <a:pt x="1147501" y="1536779"/>
                </a:lnTo>
                <a:lnTo>
                  <a:pt x="970181" y="1714099"/>
                </a:lnTo>
                <a:lnTo>
                  <a:pt x="1192304" y="1714099"/>
                </a:lnTo>
                <a:cubicBezTo>
                  <a:pt x="1490380" y="1714099"/>
                  <a:pt x="1741821" y="1492094"/>
                  <a:pt x="1778822" y="1196323"/>
                </a:cubicBezTo>
                <a:close/>
                <a:moveTo>
                  <a:pt x="236428" y="591069"/>
                </a:moveTo>
                <a:lnTo>
                  <a:pt x="236428" y="709283"/>
                </a:lnTo>
                <a:lnTo>
                  <a:pt x="827497" y="709283"/>
                </a:lnTo>
                <a:lnTo>
                  <a:pt x="827497" y="591069"/>
                </a:lnTo>
                <a:close/>
                <a:moveTo>
                  <a:pt x="236428" y="354641"/>
                </a:moveTo>
                <a:lnTo>
                  <a:pt x="236428" y="472855"/>
                </a:lnTo>
                <a:lnTo>
                  <a:pt x="1063924" y="472855"/>
                </a:lnTo>
                <a:lnTo>
                  <a:pt x="1063924" y="354641"/>
                </a:lnTo>
                <a:close/>
                <a:moveTo>
                  <a:pt x="236428" y="118214"/>
                </a:moveTo>
                <a:lnTo>
                  <a:pt x="236428" y="236428"/>
                </a:lnTo>
                <a:lnTo>
                  <a:pt x="1300352" y="236428"/>
                </a:lnTo>
                <a:lnTo>
                  <a:pt x="1300352" y="118214"/>
                </a:lnTo>
                <a:close/>
                <a:moveTo>
                  <a:pt x="2009634" y="83577"/>
                </a:moveTo>
                <a:lnTo>
                  <a:pt x="2280698" y="354641"/>
                </a:lnTo>
                <a:lnTo>
                  <a:pt x="2009634" y="354641"/>
                </a:lnTo>
                <a:close/>
                <a:moveTo>
                  <a:pt x="118214" y="0"/>
                </a:moveTo>
                <a:lnTo>
                  <a:pt x="1891420" y="0"/>
                </a:lnTo>
                <a:lnTo>
                  <a:pt x="1891420" y="472855"/>
                </a:lnTo>
                <a:lnTo>
                  <a:pt x="2364275" y="472855"/>
                </a:lnTo>
                <a:lnTo>
                  <a:pt x="2364275" y="2482489"/>
                </a:lnTo>
                <a:lnTo>
                  <a:pt x="2246062" y="2482489"/>
                </a:lnTo>
                <a:lnTo>
                  <a:pt x="2246062" y="1891420"/>
                </a:lnTo>
                <a:lnTo>
                  <a:pt x="2127848" y="1891420"/>
                </a:lnTo>
                <a:lnTo>
                  <a:pt x="2127848" y="2246061"/>
                </a:lnTo>
                <a:lnTo>
                  <a:pt x="2009634" y="2246061"/>
                </a:lnTo>
                <a:lnTo>
                  <a:pt x="2009634" y="2009634"/>
                </a:lnTo>
                <a:lnTo>
                  <a:pt x="1891420" y="2009634"/>
                </a:lnTo>
                <a:lnTo>
                  <a:pt x="1891420" y="2127848"/>
                </a:lnTo>
                <a:lnTo>
                  <a:pt x="1536779" y="2127848"/>
                </a:lnTo>
                <a:lnTo>
                  <a:pt x="1536779" y="2600703"/>
                </a:lnTo>
                <a:lnTo>
                  <a:pt x="1418565" y="2600703"/>
                </a:lnTo>
                <a:lnTo>
                  <a:pt x="1418565" y="2837130"/>
                </a:lnTo>
                <a:lnTo>
                  <a:pt x="1300352" y="2837130"/>
                </a:lnTo>
                <a:lnTo>
                  <a:pt x="1300352" y="2482489"/>
                </a:lnTo>
                <a:lnTo>
                  <a:pt x="945710" y="2482489"/>
                </a:lnTo>
                <a:lnTo>
                  <a:pt x="945710" y="2955344"/>
                </a:lnTo>
                <a:lnTo>
                  <a:pt x="827497" y="2955344"/>
                </a:lnTo>
                <a:lnTo>
                  <a:pt x="827497" y="2600703"/>
                </a:lnTo>
                <a:lnTo>
                  <a:pt x="709283" y="2600703"/>
                </a:lnTo>
                <a:lnTo>
                  <a:pt x="709283" y="2718916"/>
                </a:lnTo>
                <a:lnTo>
                  <a:pt x="591069" y="2718916"/>
                </a:lnTo>
                <a:lnTo>
                  <a:pt x="591069" y="2246061"/>
                </a:lnTo>
                <a:lnTo>
                  <a:pt x="236428" y="2246061"/>
                </a:lnTo>
                <a:lnTo>
                  <a:pt x="236428" y="2482489"/>
                </a:lnTo>
                <a:lnTo>
                  <a:pt x="118214" y="2482489"/>
                </a:lnTo>
                <a:close/>
              </a:path>
            </a:pathLst>
          </a:custGeom>
          <a:solidFill>
            <a:schemeClr val="bg1"/>
          </a:solidFill>
          <a:ln w="32742"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sp>
        <p:nvSpPr>
          <p:cNvPr id="49" name="Rectangle 48">
            <a:extLst>
              <a:ext uri="{FF2B5EF4-FFF2-40B4-BE49-F238E27FC236}">
                <a16:creationId xmlns:a16="http://schemas.microsoft.com/office/drawing/2014/main" id="{942435C0-7929-4407-B172-B4D104695971}"/>
              </a:ext>
            </a:extLst>
          </p:cNvPr>
          <p:cNvSpPr>
            <a:spLocks/>
          </p:cNvSpPr>
          <p:nvPr/>
        </p:nvSpPr>
        <p:spPr>
          <a:xfrm>
            <a:off x="4800573" y="5281165"/>
            <a:ext cx="4869659" cy="276999"/>
          </a:xfrm>
          <a:prstGeom prst="rect">
            <a:avLst/>
          </a:prstGeom>
        </p:spPr>
        <p:txBody>
          <a:bodyPr wrap="square" lIns="0" tIns="0" rIns="0" bIns="0">
            <a:spAutoFit/>
          </a:bodyPr>
          <a:lstStyle/>
          <a:p>
            <a:pPr>
              <a:lnSpc>
                <a:spcPct val="90000"/>
              </a:lnSpc>
              <a:spcBef>
                <a:spcPts val="325"/>
              </a:spcBef>
              <a:buSzPct val="100000"/>
            </a:pPr>
            <a:r>
              <a:rPr lang="en-US" sz="2000" b="0">
                <a:solidFill>
                  <a:schemeClr val="accent6"/>
                </a:solidFill>
                <a:sym typeface="+mn-lt"/>
              </a:rPr>
              <a:t>Hydrogen and battery energy storage systems </a:t>
            </a:r>
          </a:p>
        </p:txBody>
      </p:sp>
      <p:sp>
        <p:nvSpPr>
          <p:cNvPr id="53" name="Freeform: Shape 52">
            <a:extLst>
              <a:ext uri="{FF2B5EF4-FFF2-40B4-BE49-F238E27FC236}">
                <a16:creationId xmlns:a16="http://schemas.microsoft.com/office/drawing/2014/main" id="{07B30854-C2C7-4DA1-B2E7-254495C91B42}"/>
              </a:ext>
            </a:extLst>
          </p:cNvPr>
          <p:cNvSpPr>
            <a:spLocks noChangeAspect="1"/>
          </p:cNvSpPr>
          <p:nvPr/>
        </p:nvSpPr>
        <p:spPr>
          <a:xfrm>
            <a:off x="1890081" y="2788485"/>
            <a:ext cx="643620" cy="645200"/>
          </a:xfrm>
          <a:custGeom>
            <a:avLst/>
            <a:gdLst>
              <a:gd name="connsiteX0" fmla="*/ 1828201 w 3660893"/>
              <a:gd name="connsiteY0" fmla="*/ 2454820 h 3669877"/>
              <a:gd name="connsiteX1" fmla="*/ 1473342 w 3660893"/>
              <a:gd name="connsiteY1" fmla="*/ 2809679 h 3669877"/>
              <a:gd name="connsiteX2" fmla="*/ 1828201 w 3660893"/>
              <a:gd name="connsiteY2" fmla="*/ 3164539 h 3669877"/>
              <a:gd name="connsiteX3" fmla="*/ 2183061 w 3660893"/>
              <a:gd name="connsiteY3" fmla="*/ 2809679 h 3669877"/>
              <a:gd name="connsiteX4" fmla="*/ 1828201 w 3660893"/>
              <a:gd name="connsiteY4" fmla="*/ 2454820 h 3669877"/>
              <a:gd name="connsiteX5" fmla="*/ 1769807 w 3660893"/>
              <a:gd name="connsiteY5" fmla="*/ 1944990 h 3669877"/>
              <a:gd name="connsiteX6" fmla="*/ 1870874 w 3660893"/>
              <a:gd name="connsiteY6" fmla="*/ 1944990 h 3669877"/>
              <a:gd name="connsiteX7" fmla="*/ 1895580 w 3660893"/>
              <a:gd name="connsiteY7" fmla="*/ 2111190 h 3669877"/>
              <a:gd name="connsiteX8" fmla="*/ 1942745 w 3660893"/>
              <a:gd name="connsiteY8" fmla="*/ 2165092 h 3669877"/>
              <a:gd name="connsiteX9" fmla="*/ 2185307 w 3660893"/>
              <a:gd name="connsiteY9" fmla="*/ 2266160 h 3669877"/>
              <a:gd name="connsiteX10" fmla="*/ 2257177 w 3660893"/>
              <a:gd name="connsiteY10" fmla="*/ 2266160 h 3669877"/>
              <a:gd name="connsiteX11" fmla="*/ 2391934 w 3660893"/>
              <a:gd name="connsiteY11" fmla="*/ 2165092 h 3669877"/>
              <a:gd name="connsiteX12" fmla="*/ 2463804 w 3660893"/>
              <a:gd name="connsiteY12" fmla="*/ 2236963 h 3669877"/>
              <a:gd name="connsiteX13" fmla="*/ 2358245 w 3660893"/>
              <a:gd name="connsiteY13" fmla="*/ 2378457 h 3669877"/>
              <a:gd name="connsiteX14" fmla="*/ 2358245 w 3660893"/>
              <a:gd name="connsiteY14" fmla="*/ 2450328 h 3669877"/>
              <a:gd name="connsiteX15" fmla="*/ 2459312 w 3660893"/>
              <a:gd name="connsiteY15" fmla="*/ 2692890 h 3669877"/>
              <a:gd name="connsiteX16" fmla="*/ 2515461 w 3660893"/>
              <a:gd name="connsiteY16" fmla="*/ 2744547 h 3669877"/>
              <a:gd name="connsiteX17" fmla="*/ 2681661 w 3660893"/>
              <a:gd name="connsiteY17" fmla="*/ 2769252 h 3669877"/>
              <a:gd name="connsiteX18" fmla="*/ 2681661 w 3660893"/>
              <a:gd name="connsiteY18" fmla="*/ 2870320 h 3669877"/>
              <a:gd name="connsiteX19" fmla="*/ 2515461 w 3660893"/>
              <a:gd name="connsiteY19" fmla="*/ 2895025 h 3669877"/>
              <a:gd name="connsiteX20" fmla="*/ 2461558 w 3660893"/>
              <a:gd name="connsiteY20" fmla="*/ 2942190 h 3669877"/>
              <a:gd name="connsiteX21" fmla="*/ 2360491 w 3660893"/>
              <a:gd name="connsiteY21" fmla="*/ 3184752 h 3669877"/>
              <a:gd name="connsiteX22" fmla="*/ 2360491 w 3660893"/>
              <a:gd name="connsiteY22" fmla="*/ 3256623 h 3669877"/>
              <a:gd name="connsiteX23" fmla="*/ 2461558 w 3660893"/>
              <a:gd name="connsiteY23" fmla="*/ 3391379 h 3669877"/>
              <a:gd name="connsiteX24" fmla="*/ 2389688 w 3660893"/>
              <a:gd name="connsiteY24" fmla="*/ 3463250 h 3669877"/>
              <a:gd name="connsiteX25" fmla="*/ 2254931 w 3660893"/>
              <a:gd name="connsiteY25" fmla="*/ 3362182 h 3669877"/>
              <a:gd name="connsiteX26" fmla="*/ 2183061 w 3660893"/>
              <a:gd name="connsiteY26" fmla="*/ 3362182 h 3669877"/>
              <a:gd name="connsiteX27" fmla="*/ 1940499 w 3660893"/>
              <a:gd name="connsiteY27" fmla="*/ 3463250 h 3669877"/>
              <a:gd name="connsiteX28" fmla="*/ 1893334 w 3660893"/>
              <a:gd name="connsiteY28" fmla="*/ 3517152 h 3669877"/>
              <a:gd name="connsiteX29" fmla="*/ 1882104 w 3660893"/>
              <a:gd name="connsiteY29" fmla="*/ 3669877 h 3669877"/>
              <a:gd name="connsiteX30" fmla="*/ 1781036 w 3660893"/>
              <a:gd name="connsiteY30" fmla="*/ 3669877 h 3669877"/>
              <a:gd name="connsiteX31" fmla="*/ 1756331 w 3660893"/>
              <a:gd name="connsiteY31" fmla="*/ 3503677 h 3669877"/>
              <a:gd name="connsiteX32" fmla="*/ 1709166 w 3660893"/>
              <a:gd name="connsiteY32" fmla="*/ 3449774 h 3669877"/>
              <a:gd name="connsiteX33" fmla="*/ 1466604 w 3660893"/>
              <a:gd name="connsiteY33" fmla="*/ 3348706 h 3669877"/>
              <a:gd name="connsiteX34" fmla="*/ 1394732 w 3660893"/>
              <a:gd name="connsiteY34" fmla="*/ 3348706 h 3669877"/>
              <a:gd name="connsiteX35" fmla="*/ 1259976 w 3660893"/>
              <a:gd name="connsiteY35" fmla="*/ 3449774 h 3669877"/>
              <a:gd name="connsiteX36" fmla="*/ 1188105 w 3660893"/>
              <a:gd name="connsiteY36" fmla="*/ 3377904 h 3669877"/>
              <a:gd name="connsiteX37" fmla="*/ 1289173 w 3660893"/>
              <a:gd name="connsiteY37" fmla="*/ 3247639 h 3669877"/>
              <a:gd name="connsiteX38" fmla="*/ 1289173 w 3660893"/>
              <a:gd name="connsiteY38" fmla="*/ 3175768 h 3669877"/>
              <a:gd name="connsiteX39" fmla="*/ 1188105 w 3660893"/>
              <a:gd name="connsiteY39" fmla="*/ 2933206 h 3669877"/>
              <a:gd name="connsiteX40" fmla="*/ 1134203 w 3660893"/>
              <a:gd name="connsiteY40" fmla="*/ 2886041 h 3669877"/>
              <a:gd name="connsiteX41" fmla="*/ 968003 w 3660893"/>
              <a:gd name="connsiteY41" fmla="*/ 2861336 h 3669877"/>
              <a:gd name="connsiteX42" fmla="*/ 968003 w 3660893"/>
              <a:gd name="connsiteY42" fmla="*/ 2760268 h 3669877"/>
              <a:gd name="connsiteX43" fmla="*/ 1134203 w 3660893"/>
              <a:gd name="connsiteY43" fmla="*/ 2735563 h 3669877"/>
              <a:gd name="connsiteX44" fmla="*/ 1188105 w 3660893"/>
              <a:gd name="connsiteY44" fmla="*/ 2688398 h 3669877"/>
              <a:gd name="connsiteX45" fmla="*/ 1289173 w 3660893"/>
              <a:gd name="connsiteY45" fmla="*/ 2445836 h 3669877"/>
              <a:gd name="connsiteX46" fmla="*/ 1289173 w 3660893"/>
              <a:gd name="connsiteY46" fmla="*/ 2373965 h 3669877"/>
              <a:gd name="connsiteX47" fmla="*/ 1188105 w 3660893"/>
              <a:gd name="connsiteY47" fmla="*/ 2239209 h 3669877"/>
              <a:gd name="connsiteX48" fmla="*/ 1259976 w 3660893"/>
              <a:gd name="connsiteY48" fmla="*/ 2167338 h 3669877"/>
              <a:gd name="connsiteX49" fmla="*/ 1390241 w 3660893"/>
              <a:gd name="connsiteY49" fmla="*/ 2268406 h 3669877"/>
              <a:gd name="connsiteX50" fmla="*/ 1462112 w 3660893"/>
              <a:gd name="connsiteY50" fmla="*/ 2268406 h 3669877"/>
              <a:gd name="connsiteX51" fmla="*/ 1704674 w 3660893"/>
              <a:gd name="connsiteY51" fmla="*/ 2167338 h 3669877"/>
              <a:gd name="connsiteX52" fmla="*/ 1751839 w 3660893"/>
              <a:gd name="connsiteY52" fmla="*/ 2113436 h 3669877"/>
              <a:gd name="connsiteX53" fmla="*/ 3294804 w 3660893"/>
              <a:gd name="connsiteY53" fmla="*/ 1906809 h 3669877"/>
              <a:gd name="connsiteX54" fmla="*/ 3660893 w 3660893"/>
              <a:gd name="connsiteY54" fmla="*/ 1906809 h 3669877"/>
              <a:gd name="connsiteX55" fmla="*/ 3660893 w 3660893"/>
              <a:gd name="connsiteY55" fmla="*/ 2823156 h 3669877"/>
              <a:gd name="connsiteX56" fmla="*/ 2798450 w 3660893"/>
              <a:gd name="connsiteY56" fmla="*/ 2823156 h 3669877"/>
              <a:gd name="connsiteX57" fmla="*/ 2798450 w 3660893"/>
              <a:gd name="connsiteY57" fmla="*/ 2710858 h 3669877"/>
              <a:gd name="connsiteX58" fmla="*/ 2744547 w 3660893"/>
              <a:gd name="connsiteY58" fmla="*/ 2652464 h 3669877"/>
              <a:gd name="connsiteX59" fmla="*/ 2567117 w 3660893"/>
              <a:gd name="connsiteY59" fmla="*/ 2627758 h 3669877"/>
              <a:gd name="connsiteX60" fmla="*/ 2479525 w 3660893"/>
              <a:gd name="connsiteY60" fmla="*/ 2421131 h 3669877"/>
              <a:gd name="connsiteX61" fmla="*/ 2585085 w 3660893"/>
              <a:gd name="connsiteY61" fmla="*/ 2286375 h 3669877"/>
              <a:gd name="connsiteX62" fmla="*/ 2578347 w 3660893"/>
              <a:gd name="connsiteY62" fmla="*/ 2203274 h 3669877"/>
              <a:gd name="connsiteX63" fmla="*/ 2436852 w 3660893"/>
              <a:gd name="connsiteY63" fmla="*/ 2061779 h 3669877"/>
              <a:gd name="connsiteX64" fmla="*/ 2389688 w 3660893"/>
              <a:gd name="connsiteY64" fmla="*/ 2043811 h 3669877"/>
              <a:gd name="connsiteX65" fmla="*/ 2389688 w 3660893"/>
              <a:gd name="connsiteY65" fmla="*/ 1913546 h 3669877"/>
              <a:gd name="connsiteX66" fmla="*/ 2749039 w 3660893"/>
              <a:gd name="connsiteY66" fmla="*/ 1913546 h 3669877"/>
              <a:gd name="connsiteX67" fmla="*/ 2749039 w 3660893"/>
              <a:gd name="connsiteY67" fmla="*/ 2243702 h 3669877"/>
              <a:gd name="connsiteX68" fmla="*/ 2784974 w 3660893"/>
              <a:gd name="connsiteY68" fmla="*/ 2297604 h 3669877"/>
              <a:gd name="connsiteX69" fmla="*/ 2850107 w 3660893"/>
              <a:gd name="connsiteY69" fmla="*/ 2279637 h 3669877"/>
              <a:gd name="connsiteX70" fmla="*/ 3020799 w 3660893"/>
              <a:gd name="connsiteY70" fmla="*/ 2090976 h 3669877"/>
              <a:gd name="connsiteX71" fmla="*/ 3191491 w 3660893"/>
              <a:gd name="connsiteY71" fmla="*/ 2279637 h 3669877"/>
              <a:gd name="connsiteX72" fmla="*/ 3256623 w 3660893"/>
              <a:gd name="connsiteY72" fmla="*/ 2297604 h 3669877"/>
              <a:gd name="connsiteX73" fmla="*/ 3292558 w 3660893"/>
              <a:gd name="connsiteY73" fmla="*/ 2243702 h 3669877"/>
              <a:gd name="connsiteX74" fmla="*/ 3294804 w 3660893"/>
              <a:gd name="connsiteY74" fmla="*/ 2243702 h 3669877"/>
              <a:gd name="connsiteX75" fmla="*/ 0 w 3660893"/>
              <a:gd name="connsiteY75" fmla="*/ 1906809 h 3669877"/>
              <a:gd name="connsiteX76" fmla="*/ 359351 w 3660893"/>
              <a:gd name="connsiteY76" fmla="*/ 1906809 h 3669877"/>
              <a:gd name="connsiteX77" fmla="*/ 359351 w 3660893"/>
              <a:gd name="connsiteY77" fmla="*/ 2243702 h 3669877"/>
              <a:gd name="connsiteX78" fmla="*/ 397532 w 3660893"/>
              <a:gd name="connsiteY78" fmla="*/ 2297604 h 3669877"/>
              <a:gd name="connsiteX79" fmla="*/ 462665 w 3660893"/>
              <a:gd name="connsiteY79" fmla="*/ 2279637 h 3669877"/>
              <a:gd name="connsiteX80" fmla="*/ 633357 w 3660893"/>
              <a:gd name="connsiteY80" fmla="*/ 2090976 h 3669877"/>
              <a:gd name="connsiteX81" fmla="*/ 804049 w 3660893"/>
              <a:gd name="connsiteY81" fmla="*/ 2279637 h 3669877"/>
              <a:gd name="connsiteX82" fmla="*/ 869182 w 3660893"/>
              <a:gd name="connsiteY82" fmla="*/ 2297604 h 3669877"/>
              <a:gd name="connsiteX83" fmla="*/ 905117 w 3660893"/>
              <a:gd name="connsiteY83" fmla="*/ 2243702 h 3669877"/>
              <a:gd name="connsiteX84" fmla="*/ 905117 w 3660893"/>
              <a:gd name="connsiteY84" fmla="*/ 1906809 h 3669877"/>
              <a:gd name="connsiteX85" fmla="*/ 1264469 w 3660893"/>
              <a:gd name="connsiteY85" fmla="*/ 1906809 h 3669877"/>
              <a:gd name="connsiteX86" fmla="*/ 1264469 w 3660893"/>
              <a:gd name="connsiteY86" fmla="*/ 2037073 h 3669877"/>
              <a:gd name="connsiteX87" fmla="*/ 1217304 w 3660893"/>
              <a:gd name="connsiteY87" fmla="*/ 2055041 h 3669877"/>
              <a:gd name="connsiteX88" fmla="*/ 1069071 w 3660893"/>
              <a:gd name="connsiteY88" fmla="*/ 2203274 h 3669877"/>
              <a:gd name="connsiteX89" fmla="*/ 1062333 w 3660893"/>
              <a:gd name="connsiteY89" fmla="*/ 2279637 h 3669877"/>
              <a:gd name="connsiteX90" fmla="*/ 1167893 w 3660893"/>
              <a:gd name="connsiteY90" fmla="*/ 2421131 h 3669877"/>
              <a:gd name="connsiteX91" fmla="*/ 1080301 w 3660893"/>
              <a:gd name="connsiteY91" fmla="*/ 2627758 h 3669877"/>
              <a:gd name="connsiteX92" fmla="*/ 902871 w 3660893"/>
              <a:gd name="connsiteY92" fmla="*/ 2652464 h 3669877"/>
              <a:gd name="connsiteX93" fmla="*/ 848968 w 3660893"/>
              <a:gd name="connsiteY93" fmla="*/ 2710858 h 3669877"/>
              <a:gd name="connsiteX94" fmla="*/ 848968 w 3660893"/>
              <a:gd name="connsiteY94" fmla="*/ 2823156 h 3669877"/>
              <a:gd name="connsiteX95" fmla="*/ 0 w 3660893"/>
              <a:gd name="connsiteY95" fmla="*/ 2823156 h 3669877"/>
              <a:gd name="connsiteX96" fmla="*/ 2872566 w 3660893"/>
              <a:gd name="connsiteY96" fmla="*/ 1558687 h 3669877"/>
              <a:gd name="connsiteX97" fmla="*/ 3180261 w 3660893"/>
              <a:gd name="connsiteY97" fmla="*/ 1558687 h 3669877"/>
              <a:gd name="connsiteX98" fmla="*/ 3180261 w 3660893"/>
              <a:gd name="connsiteY98" fmla="*/ 2090977 h 3669877"/>
              <a:gd name="connsiteX99" fmla="*/ 3067964 w 3660893"/>
              <a:gd name="connsiteY99" fmla="*/ 1971942 h 3669877"/>
              <a:gd name="connsiteX100" fmla="*/ 3027537 w 3660893"/>
              <a:gd name="connsiteY100" fmla="*/ 1953974 h 3669877"/>
              <a:gd name="connsiteX101" fmla="*/ 2984864 w 3660893"/>
              <a:gd name="connsiteY101" fmla="*/ 1971942 h 3669877"/>
              <a:gd name="connsiteX102" fmla="*/ 2872566 w 3660893"/>
              <a:gd name="connsiteY102" fmla="*/ 2095469 h 3669877"/>
              <a:gd name="connsiteX103" fmla="*/ 3299295 w 3660893"/>
              <a:gd name="connsiteY103" fmla="*/ 1554195 h 3669877"/>
              <a:gd name="connsiteX104" fmla="*/ 3658648 w 3660893"/>
              <a:gd name="connsiteY104" fmla="*/ 1554195 h 3669877"/>
              <a:gd name="connsiteX105" fmla="*/ 3658648 w 3660893"/>
              <a:gd name="connsiteY105" fmla="*/ 1790020 h 3669877"/>
              <a:gd name="connsiteX106" fmla="*/ 3299295 w 3660893"/>
              <a:gd name="connsiteY106" fmla="*/ 1790020 h 3669877"/>
              <a:gd name="connsiteX107" fmla="*/ 2389688 w 3660893"/>
              <a:gd name="connsiteY107" fmla="*/ 1554195 h 3669877"/>
              <a:gd name="connsiteX108" fmla="*/ 2749040 w 3660893"/>
              <a:gd name="connsiteY108" fmla="*/ 1554195 h 3669877"/>
              <a:gd name="connsiteX109" fmla="*/ 2749040 w 3660893"/>
              <a:gd name="connsiteY109" fmla="*/ 1790020 h 3669877"/>
              <a:gd name="connsiteX110" fmla="*/ 2389688 w 3660893"/>
              <a:gd name="connsiteY110" fmla="*/ 1790020 h 3669877"/>
              <a:gd name="connsiteX111" fmla="*/ 902871 w 3660893"/>
              <a:gd name="connsiteY111" fmla="*/ 1554195 h 3669877"/>
              <a:gd name="connsiteX112" fmla="*/ 1262223 w 3660893"/>
              <a:gd name="connsiteY112" fmla="*/ 1554195 h 3669877"/>
              <a:gd name="connsiteX113" fmla="*/ 1262223 w 3660893"/>
              <a:gd name="connsiteY113" fmla="*/ 1790020 h 3669877"/>
              <a:gd name="connsiteX114" fmla="*/ 902871 w 3660893"/>
              <a:gd name="connsiteY114" fmla="*/ 1790020 h 3669877"/>
              <a:gd name="connsiteX115" fmla="*/ 478387 w 3660893"/>
              <a:gd name="connsiteY115" fmla="*/ 1554195 h 3669877"/>
              <a:gd name="connsiteX116" fmla="*/ 790574 w 3660893"/>
              <a:gd name="connsiteY116" fmla="*/ 1554195 h 3669877"/>
              <a:gd name="connsiteX117" fmla="*/ 790574 w 3660893"/>
              <a:gd name="connsiteY117" fmla="*/ 2090977 h 3669877"/>
              <a:gd name="connsiteX118" fmla="*/ 678277 w 3660893"/>
              <a:gd name="connsiteY118" fmla="*/ 1967450 h 3669877"/>
              <a:gd name="connsiteX119" fmla="*/ 631111 w 3660893"/>
              <a:gd name="connsiteY119" fmla="*/ 1949482 h 3669877"/>
              <a:gd name="connsiteX120" fmla="*/ 590684 w 3660893"/>
              <a:gd name="connsiteY120" fmla="*/ 1967450 h 3669877"/>
              <a:gd name="connsiteX121" fmla="*/ 478387 w 3660893"/>
              <a:gd name="connsiteY121" fmla="*/ 2090977 h 3669877"/>
              <a:gd name="connsiteX122" fmla="*/ 0 w 3660893"/>
              <a:gd name="connsiteY122" fmla="*/ 1554195 h 3669877"/>
              <a:gd name="connsiteX123" fmla="*/ 359352 w 3660893"/>
              <a:gd name="connsiteY123" fmla="*/ 1554195 h 3669877"/>
              <a:gd name="connsiteX124" fmla="*/ 359352 w 3660893"/>
              <a:gd name="connsiteY124" fmla="*/ 1790020 h 3669877"/>
              <a:gd name="connsiteX125" fmla="*/ 0 w 3660893"/>
              <a:gd name="connsiteY125" fmla="*/ 1790020 h 3669877"/>
              <a:gd name="connsiteX126" fmla="*/ 1197090 w 3660893"/>
              <a:gd name="connsiteY126" fmla="*/ 354860 h 3669877"/>
              <a:gd name="connsiteX127" fmla="*/ 1556442 w 3660893"/>
              <a:gd name="connsiteY127" fmla="*/ 354860 h 3669877"/>
              <a:gd name="connsiteX128" fmla="*/ 1556442 w 3660893"/>
              <a:gd name="connsiteY128" fmla="*/ 691753 h 3669877"/>
              <a:gd name="connsiteX129" fmla="*/ 1592377 w 3660893"/>
              <a:gd name="connsiteY129" fmla="*/ 745655 h 3669877"/>
              <a:gd name="connsiteX130" fmla="*/ 1657510 w 3660893"/>
              <a:gd name="connsiteY130" fmla="*/ 727688 h 3669877"/>
              <a:gd name="connsiteX131" fmla="*/ 1828202 w 3660893"/>
              <a:gd name="connsiteY131" fmla="*/ 539027 h 3669877"/>
              <a:gd name="connsiteX132" fmla="*/ 1998894 w 3660893"/>
              <a:gd name="connsiteY132" fmla="*/ 727688 h 3669877"/>
              <a:gd name="connsiteX133" fmla="*/ 2064026 w 3660893"/>
              <a:gd name="connsiteY133" fmla="*/ 745655 h 3669877"/>
              <a:gd name="connsiteX134" fmla="*/ 2099961 w 3660893"/>
              <a:gd name="connsiteY134" fmla="*/ 691753 h 3669877"/>
              <a:gd name="connsiteX135" fmla="*/ 2099961 w 3660893"/>
              <a:gd name="connsiteY135" fmla="*/ 354860 h 3669877"/>
              <a:gd name="connsiteX136" fmla="*/ 2459313 w 3660893"/>
              <a:gd name="connsiteY136" fmla="*/ 354860 h 3669877"/>
              <a:gd name="connsiteX137" fmla="*/ 2459313 w 3660893"/>
              <a:gd name="connsiteY137" fmla="*/ 1271207 h 3669877"/>
              <a:gd name="connsiteX138" fmla="*/ 1197090 w 3660893"/>
              <a:gd name="connsiteY138" fmla="*/ 1271207 h 3669877"/>
              <a:gd name="connsiteX139" fmla="*/ 1197090 w 3660893"/>
              <a:gd name="connsiteY139" fmla="*/ 1264469 h 3669877"/>
              <a:gd name="connsiteX140" fmla="*/ 2099960 w 3660893"/>
              <a:gd name="connsiteY140" fmla="*/ 0 h 3669877"/>
              <a:gd name="connsiteX141" fmla="*/ 2459312 w 3660893"/>
              <a:gd name="connsiteY141" fmla="*/ 0 h 3669877"/>
              <a:gd name="connsiteX142" fmla="*/ 2459312 w 3660893"/>
              <a:gd name="connsiteY142" fmla="*/ 235825 h 3669877"/>
              <a:gd name="connsiteX143" fmla="*/ 2099960 w 3660893"/>
              <a:gd name="connsiteY143" fmla="*/ 235825 h 3669877"/>
              <a:gd name="connsiteX144" fmla="*/ 1675477 w 3660893"/>
              <a:gd name="connsiteY144" fmla="*/ 0 h 3669877"/>
              <a:gd name="connsiteX145" fmla="*/ 1980926 w 3660893"/>
              <a:gd name="connsiteY145" fmla="*/ 0 h 3669877"/>
              <a:gd name="connsiteX146" fmla="*/ 1980926 w 3660893"/>
              <a:gd name="connsiteY146" fmla="*/ 536782 h 3669877"/>
              <a:gd name="connsiteX147" fmla="*/ 1868629 w 3660893"/>
              <a:gd name="connsiteY147" fmla="*/ 413255 h 3669877"/>
              <a:gd name="connsiteX148" fmla="*/ 1828202 w 3660893"/>
              <a:gd name="connsiteY148" fmla="*/ 395287 h 3669877"/>
              <a:gd name="connsiteX149" fmla="*/ 1787775 w 3660893"/>
              <a:gd name="connsiteY149" fmla="*/ 413255 h 3669877"/>
              <a:gd name="connsiteX150" fmla="*/ 1675477 w 3660893"/>
              <a:gd name="connsiteY150" fmla="*/ 536782 h 3669877"/>
              <a:gd name="connsiteX151" fmla="*/ 1192598 w 3660893"/>
              <a:gd name="connsiteY151" fmla="*/ 0 h 3669877"/>
              <a:gd name="connsiteX152" fmla="*/ 1551950 w 3660893"/>
              <a:gd name="connsiteY152" fmla="*/ 0 h 3669877"/>
              <a:gd name="connsiteX153" fmla="*/ 1551950 w 3660893"/>
              <a:gd name="connsiteY153" fmla="*/ 235825 h 3669877"/>
              <a:gd name="connsiteX154" fmla="*/ 1192598 w 3660893"/>
              <a:gd name="connsiteY154" fmla="*/ 235825 h 366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660893" h="3669877">
                <a:moveTo>
                  <a:pt x="1828201" y="2454820"/>
                </a:moveTo>
                <a:cubicBezTo>
                  <a:pt x="1632804" y="2454820"/>
                  <a:pt x="1473342" y="2614282"/>
                  <a:pt x="1473342" y="2809679"/>
                </a:cubicBezTo>
                <a:cubicBezTo>
                  <a:pt x="1473342" y="3005077"/>
                  <a:pt x="1632804" y="3164539"/>
                  <a:pt x="1828201" y="3164539"/>
                </a:cubicBezTo>
                <a:cubicBezTo>
                  <a:pt x="2023599" y="3164539"/>
                  <a:pt x="2183061" y="3005077"/>
                  <a:pt x="2183061" y="2809679"/>
                </a:cubicBezTo>
                <a:cubicBezTo>
                  <a:pt x="2183061" y="2614282"/>
                  <a:pt x="2023599" y="2454820"/>
                  <a:pt x="1828201" y="2454820"/>
                </a:cubicBezTo>
                <a:close/>
                <a:moveTo>
                  <a:pt x="1769807" y="1944990"/>
                </a:moveTo>
                <a:lnTo>
                  <a:pt x="1870874" y="1944990"/>
                </a:lnTo>
                <a:lnTo>
                  <a:pt x="1895580" y="2111190"/>
                </a:lnTo>
                <a:cubicBezTo>
                  <a:pt x="1902317" y="2135895"/>
                  <a:pt x="1918039" y="2158355"/>
                  <a:pt x="1942745" y="2165092"/>
                </a:cubicBezTo>
                <a:cubicBezTo>
                  <a:pt x="2032582" y="2183060"/>
                  <a:pt x="2113436" y="2212257"/>
                  <a:pt x="2185307" y="2266160"/>
                </a:cubicBezTo>
                <a:cubicBezTo>
                  <a:pt x="2210012" y="2277390"/>
                  <a:pt x="2232472" y="2277390"/>
                  <a:pt x="2257177" y="2266160"/>
                </a:cubicBezTo>
                <a:lnTo>
                  <a:pt x="2391934" y="2165092"/>
                </a:lnTo>
                <a:lnTo>
                  <a:pt x="2463804" y="2236963"/>
                </a:lnTo>
                <a:lnTo>
                  <a:pt x="2358245" y="2378457"/>
                </a:lnTo>
                <a:cubicBezTo>
                  <a:pt x="2340277" y="2396425"/>
                  <a:pt x="2340277" y="2425622"/>
                  <a:pt x="2358245" y="2450328"/>
                </a:cubicBezTo>
                <a:cubicBezTo>
                  <a:pt x="2405410" y="2522198"/>
                  <a:pt x="2441345" y="2605298"/>
                  <a:pt x="2459312" y="2692890"/>
                </a:cubicBezTo>
                <a:cubicBezTo>
                  <a:pt x="2466050" y="2717595"/>
                  <a:pt x="2484018" y="2733317"/>
                  <a:pt x="2515461" y="2744547"/>
                </a:cubicBezTo>
                <a:lnTo>
                  <a:pt x="2681661" y="2769252"/>
                </a:lnTo>
                <a:lnTo>
                  <a:pt x="2681661" y="2870320"/>
                </a:lnTo>
                <a:lnTo>
                  <a:pt x="2515461" y="2895025"/>
                </a:lnTo>
                <a:cubicBezTo>
                  <a:pt x="2490756" y="2901763"/>
                  <a:pt x="2468296" y="2917484"/>
                  <a:pt x="2461558" y="2942190"/>
                </a:cubicBezTo>
                <a:cubicBezTo>
                  <a:pt x="2443591" y="3032028"/>
                  <a:pt x="2414393" y="3112882"/>
                  <a:pt x="2360491" y="3184752"/>
                </a:cubicBezTo>
                <a:cubicBezTo>
                  <a:pt x="2349261" y="3209458"/>
                  <a:pt x="2349261" y="3231917"/>
                  <a:pt x="2360491" y="3256623"/>
                </a:cubicBezTo>
                <a:lnTo>
                  <a:pt x="2461558" y="3391379"/>
                </a:lnTo>
                <a:lnTo>
                  <a:pt x="2389688" y="3463250"/>
                </a:lnTo>
                <a:lnTo>
                  <a:pt x="2254931" y="3362182"/>
                </a:lnTo>
                <a:cubicBezTo>
                  <a:pt x="2236964" y="3344214"/>
                  <a:pt x="2207766" y="3344214"/>
                  <a:pt x="2183061" y="3362182"/>
                </a:cubicBezTo>
                <a:cubicBezTo>
                  <a:pt x="2111191" y="3409347"/>
                  <a:pt x="2028091" y="3445282"/>
                  <a:pt x="1940499" y="3463250"/>
                </a:cubicBezTo>
                <a:cubicBezTo>
                  <a:pt x="1918039" y="3469987"/>
                  <a:pt x="1900071" y="3487955"/>
                  <a:pt x="1893334" y="3517152"/>
                </a:cubicBezTo>
                <a:lnTo>
                  <a:pt x="1882104" y="3669877"/>
                </a:lnTo>
                <a:lnTo>
                  <a:pt x="1781036" y="3669877"/>
                </a:lnTo>
                <a:lnTo>
                  <a:pt x="1756331" y="3503677"/>
                </a:lnTo>
                <a:cubicBezTo>
                  <a:pt x="1749593" y="3478971"/>
                  <a:pt x="1733871" y="3456512"/>
                  <a:pt x="1709166" y="3449774"/>
                </a:cubicBezTo>
                <a:cubicBezTo>
                  <a:pt x="1619328" y="3431806"/>
                  <a:pt x="1538474" y="3402609"/>
                  <a:pt x="1466604" y="3348706"/>
                </a:cubicBezTo>
                <a:cubicBezTo>
                  <a:pt x="1441898" y="3337477"/>
                  <a:pt x="1419439" y="3337477"/>
                  <a:pt x="1394732" y="3348706"/>
                </a:cubicBezTo>
                <a:lnTo>
                  <a:pt x="1259976" y="3449774"/>
                </a:lnTo>
                <a:lnTo>
                  <a:pt x="1188105" y="3377904"/>
                </a:lnTo>
                <a:lnTo>
                  <a:pt x="1289173" y="3247639"/>
                </a:lnTo>
                <a:cubicBezTo>
                  <a:pt x="1307141" y="3229671"/>
                  <a:pt x="1307141" y="3193736"/>
                  <a:pt x="1289173" y="3175768"/>
                </a:cubicBezTo>
                <a:cubicBezTo>
                  <a:pt x="1242008" y="3103898"/>
                  <a:pt x="1206073" y="3020798"/>
                  <a:pt x="1188105" y="2933206"/>
                </a:cubicBezTo>
                <a:cubicBezTo>
                  <a:pt x="1181368" y="2910747"/>
                  <a:pt x="1163400" y="2892779"/>
                  <a:pt x="1134203" y="2886041"/>
                </a:cubicBezTo>
                <a:lnTo>
                  <a:pt x="968003" y="2861336"/>
                </a:lnTo>
                <a:lnTo>
                  <a:pt x="968003" y="2760268"/>
                </a:lnTo>
                <a:lnTo>
                  <a:pt x="1134203" y="2735563"/>
                </a:lnTo>
                <a:cubicBezTo>
                  <a:pt x="1158908" y="2728825"/>
                  <a:pt x="1181368" y="2713103"/>
                  <a:pt x="1188105" y="2688398"/>
                </a:cubicBezTo>
                <a:cubicBezTo>
                  <a:pt x="1206073" y="2598560"/>
                  <a:pt x="1235270" y="2517706"/>
                  <a:pt x="1289173" y="2445836"/>
                </a:cubicBezTo>
                <a:cubicBezTo>
                  <a:pt x="1300403" y="2421130"/>
                  <a:pt x="1300403" y="2398671"/>
                  <a:pt x="1289173" y="2373965"/>
                </a:cubicBezTo>
                <a:lnTo>
                  <a:pt x="1188105" y="2239209"/>
                </a:lnTo>
                <a:lnTo>
                  <a:pt x="1259976" y="2167338"/>
                </a:lnTo>
                <a:lnTo>
                  <a:pt x="1390241" y="2268406"/>
                </a:lnTo>
                <a:cubicBezTo>
                  <a:pt x="1408208" y="2286374"/>
                  <a:pt x="1444144" y="2286374"/>
                  <a:pt x="1462112" y="2268406"/>
                </a:cubicBezTo>
                <a:cubicBezTo>
                  <a:pt x="1533982" y="2221241"/>
                  <a:pt x="1617082" y="2185306"/>
                  <a:pt x="1704674" y="2167338"/>
                </a:cubicBezTo>
                <a:cubicBezTo>
                  <a:pt x="1727134" y="2160600"/>
                  <a:pt x="1745101" y="2142633"/>
                  <a:pt x="1751839" y="2113436"/>
                </a:cubicBezTo>
                <a:close/>
                <a:moveTo>
                  <a:pt x="3294804" y="1906809"/>
                </a:moveTo>
                <a:lnTo>
                  <a:pt x="3660893" y="1906809"/>
                </a:lnTo>
                <a:lnTo>
                  <a:pt x="3660893" y="2823156"/>
                </a:lnTo>
                <a:lnTo>
                  <a:pt x="2798450" y="2823156"/>
                </a:lnTo>
                <a:lnTo>
                  <a:pt x="2798450" y="2710858"/>
                </a:lnTo>
                <a:cubicBezTo>
                  <a:pt x="2798450" y="2681661"/>
                  <a:pt x="2773744" y="2659202"/>
                  <a:pt x="2744547" y="2652464"/>
                </a:cubicBezTo>
                <a:lnTo>
                  <a:pt x="2567117" y="2627758"/>
                </a:lnTo>
                <a:cubicBezTo>
                  <a:pt x="2551396" y="2555888"/>
                  <a:pt x="2519952" y="2486264"/>
                  <a:pt x="2479525" y="2421131"/>
                </a:cubicBezTo>
                <a:lnTo>
                  <a:pt x="2585085" y="2286375"/>
                </a:lnTo>
                <a:cubicBezTo>
                  <a:pt x="2603053" y="2261669"/>
                  <a:pt x="2603053" y="2227979"/>
                  <a:pt x="2578347" y="2203274"/>
                </a:cubicBezTo>
                <a:lnTo>
                  <a:pt x="2436852" y="2061779"/>
                </a:lnTo>
                <a:cubicBezTo>
                  <a:pt x="2425623" y="2050549"/>
                  <a:pt x="2407655" y="2043811"/>
                  <a:pt x="2389688" y="2043811"/>
                </a:cubicBezTo>
                <a:lnTo>
                  <a:pt x="2389688" y="1913546"/>
                </a:lnTo>
                <a:lnTo>
                  <a:pt x="2749039" y="1913546"/>
                </a:lnTo>
                <a:lnTo>
                  <a:pt x="2749039" y="2243702"/>
                </a:lnTo>
                <a:cubicBezTo>
                  <a:pt x="2749039" y="2268407"/>
                  <a:pt x="2767007" y="2290866"/>
                  <a:pt x="2784974" y="2297604"/>
                </a:cubicBezTo>
                <a:cubicBezTo>
                  <a:pt x="2809680" y="2304342"/>
                  <a:pt x="2832139" y="2297604"/>
                  <a:pt x="2850107" y="2279637"/>
                </a:cubicBezTo>
                <a:lnTo>
                  <a:pt x="3020799" y="2090976"/>
                </a:lnTo>
                <a:lnTo>
                  <a:pt x="3191491" y="2279637"/>
                </a:lnTo>
                <a:cubicBezTo>
                  <a:pt x="3209458" y="2297604"/>
                  <a:pt x="3231917" y="2304342"/>
                  <a:pt x="3256623" y="2297604"/>
                </a:cubicBezTo>
                <a:cubicBezTo>
                  <a:pt x="3281329" y="2290866"/>
                  <a:pt x="3292558" y="2268407"/>
                  <a:pt x="3292558" y="2243702"/>
                </a:cubicBezTo>
                <a:lnTo>
                  <a:pt x="3294804" y="2243702"/>
                </a:lnTo>
                <a:close/>
                <a:moveTo>
                  <a:pt x="0" y="1906809"/>
                </a:moveTo>
                <a:lnTo>
                  <a:pt x="359351" y="1906809"/>
                </a:lnTo>
                <a:lnTo>
                  <a:pt x="359351" y="2243702"/>
                </a:lnTo>
                <a:cubicBezTo>
                  <a:pt x="359351" y="2268407"/>
                  <a:pt x="377319" y="2290866"/>
                  <a:pt x="397532" y="2297604"/>
                </a:cubicBezTo>
                <a:cubicBezTo>
                  <a:pt x="422238" y="2304342"/>
                  <a:pt x="444697" y="2297604"/>
                  <a:pt x="462665" y="2279637"/>
                </a:cubicBezTo>
                <a:lnTo>
                  <a:pt x="633357" y="2090976"/>
                </a:lnTo>
                <a:lnTo>
                  <a:pt x="804049" y="2279637"/>
                </a:lnTo>
                <a:cubicBezTo>
                  <a:pt x="822016" y="2297604"/>
                  <a:pt x="844477" y="2304342"/>
                  <a:pt x="869182" y="2297604"/>
                </a:cubicBezTo>
                <a:cubicBezTo>
                  <a:pt x="893887" y="2290866"/>
                  <a:pt x="905117" y="2268407"/>
                  <a:pt x="905117" y="2243702"/>
                </a:cubicBezTo>
                <a:lnTo>
                  <a:pt x="905117" y="1906809"/>
                </a:lnTo>
                <a:lnTo>
                  <a:pt x="1264469" y="1906809"/>
                </a:lnTo>
                <a:lnTo>
                  <a:pt x="1264469" y="2037073"/>
                </a:lnTo>
                <a:cubicBezTo>
                  <a:pt x="1246501" y="2037073"/>
                  <a:pt x="1228533" y="2043811"/>
                  <a:pt x="1217304" y="2055041"/>
                </a:cubicBezTo>
                <a:lnTo>
                  <a:pt x="1069071" y="2203274"/>
                </a:lnTo>
                <a:cubicBezTo>
                  <a:pt x="1044366" y="2225733"/>
                  <a:pt x="1044366" y="2254931"/>
                  <a:pt x="1062333" y="2279637"/>
                </a:cubicBezTo>
                <a:lnTo>
                  <a:pt x="1167893" y="2421131"/>
                </a:lnTo>
                <a:cubicBezTo>
                  <a:pt x="1127466" y="2486264"/>
                  <a:pt x="1102760" y="2558134"/>
                  <a:pt x="1080301" y="2627758"/>
                </a:cubicBezTo>
                <a:lnTo>
                  <a:pt x="902871" y="2652464"/>
                </a:lnTo>
                <a:cubicBezTo>
                  <a:pt x="873674" y="2656956"/>
                  <a:pt x="848968" y="2681661"/>
                  <a:pt x="848968" y="2710858"/>
                </a:cubicBezTo>
                <a:lnTo>
                  <a:pt x="848968" y="2823156"/>
                </a:lnTo>
                <a:lnTo>
                  <a:pt x="0" y="2823156"/>
                </a:lnTo>
                <a:close/>
                <a:moveTo>
                  <a:pt x="2872566" y="1558687"/>
                </a:moveTo>
                <a:lnTo>
                  <a:pt x="3180261" y="1558687"/>
                </a:lnTo>
                <a:lnTo>
                  <a:pt x="3180261" y="2090977"/>
                </a:lnTo>
                <a:lnTo>
                  <a:pt x="3067964" y="1971942"/>
                </a:lnTo>
                <a:cubicBezTo>
                  <a:pt x="3056734" y="1960712"/>
                  <a:pt x="3038767" y="1953974"/>
                  <a:pt x="3027537" y="1953974"/>
                </a:cubicBezTo>
                <a:cubicBezTo>
                  <a:pt x="3009569" y="1953974"/>
                  <a:pt x="2998340" y="1960712"/>
                  <a:pt x="2984864" y="1971942"/>
                </a:cubicBezTo>
                <a:lnTo>
                  <a:pt x="2872566" y="2095469"/>
                </a:lnTo>
                <a:close/>
                <a:moveTo>
                  <a:pt x="3299295" y="1554195"/>
                </a:moveTo>
                <a:lnTo>
                  <a:pt x="3658648" y="1554195"/>
                </a:lnTo>
                <a:lnTo>
                  <a:pt x="3658648" y="1790020"/>
                </a:lnTo>
                <a:lnTo>
                  <a:pt x="3299295" y="1790020"/>
                </a:lnTo>
                <a:close/>
                <a:moveTo>
                  <a:pt x="2389688" y="1554195"/>
                </a:moveTo>
                <a:lnTo>
                  <a:pt x="2749040" y="1554195"/>
                </a:lnTo>
                <a:lnTo>
                  <a:pt x="2749040" y="1790020"/>
                </a:lnTo>
                <a:lnTo>
                  <a:pt x="2389688" y="1790020"/>
                </a:lnTo>
                <a:close/>
                <a:moveTo>
                  <a:pt x="902871" y="1554195"/>
                </a:moveTo>
                <a:lnTo>
                  <a:pt x="1262223" y="1554195"/>
                </a:lnTo>
                <a:lnTo>
                  <a:pt x="1262223" y="1790020"/>
                </a:lnTo>
                <a:lnTo>
                  <a:pt x="902871" y="1790020"/>
                </a:lnTo>
                <a:close/>
                <a:moveTo>
                  <a:pt x="478387" y="1554195"/>
                </a:moveTo>
                <a:lnTo>
                  <a:pt x="790574" y="1554195"/>
                </a:lnTo>
                <a:lnTo>
                  <a:pt x="790574" y="2090977"/>
                </a:lnTo>
                <a:lnTo>
                  <a:pt x="678277" y="1967450"/>
                </a:lnTo>
                <a:cubicBezTo>
                  <a:pt x="667046" y="1960712"/>
                  <a:pt x="649079" y="1949482"/>
                  <a:pt x="631111" y="1949482"/>
                </a:cubicBezTo>
                <a:cubicBezTo>
                  <a:pt x="613143" y="1949482"/>
                  <a:pt x="601914" y="1953974"/>
                  <a:pt x="590684" y="1967450"/>
                </a:cubicBezTo>
                <a:lnTo>
                  <a:pt x="478387" y="2090977"/>
                </a:lnTo>
                <a:close/>
                <a:moveTo>
                  <a:pt x="0" y="1554195"/>
                </a:moveTo>
                <a:lnTo>
                  <a:pt x="359352" y="1554195"/>
                </a:lnTo>
                <a:lnTo>
                  <a:pt x="359352" y="1790020"/>
                </a:lnTo>
                <a:lnTo>
                  <a:pt x="0" y="1790020"/>
                </a:lnTo>
                <a:close/>
                <a:moveTo>
                  <a:pt x="1197090" y="354860"/>
                </a:moveTo>
                <a:lnTo>
                  <a:pt x="1556442" y="354860"/>
                </a:lnTo>
                <a:lnTo>
                  <a:pt x="1556442" y="691753"/>
                </a:lnTo>
                <a:cubicBezTo>
                  <a:pt x="1556442" y="716458"/>
                  <a:pt x="1574410" y="738918"/>
                  <a:pt x="1592377" y="745655"/>
                </a:cubicBezTo>
                <a:cubicBezTo>
                  <a:pt x="1617083" y="752393"/>
                  <a:pt x="1639542" y="745655"/>
                  <a:pt x="1657510" y="727688"/>
                </a:cubicBezTo>
                <a:lnTo>
                  <a:pt x="1828202" y="539027"/>
                </a:lnTo>
                <a:lnTo>
                  <a:pt x="1998894" y="727688"/>
                </a:lnTo>
                <a:cubicBezTo>
                  <a:pt x="2016861" y="745655"/>
                  <a:pt x="2039321" y="752393"/>
                  <a:pt x="2064026" y="745655"/>
                </a:cubicBezTo>
                <a:cubicBezTo>
                  <a:pt x="2088731" y="738918"/>
                  <a:pt x="2099961" y="716458"/>
                  <a:pt x="2099961" y="691753"/>
                </a:cubicBezTo>
                <a:lnTo>
                  <a:pt x="2099961" y="354860"/>
                </a:lnTo>
                <a:lnTo>
                  <a:pt x="2459313" y="354860"/>
                </a:lnTo>
                <a:lnTo>
                  <a:pt x="2459313" y="1271207"/>
                </a:lnTo>
                <a:lnTo>
                  <a:pt x="1197090" y="1271207"/>
                </a:lnTo>
                <a:lnTo>
                  <a:pt x="1197090" y="1264469"/>
                </a:lnTo>
                <a:close/>
                <a:moveTo>
                  <a:pt x="2099960" y="0"/>
                </a:moveTo>
                <a:lnTo>
                  <a:pt x="2459312" y="0"/>
                </a:lnTo>
                <a:lnTo>
                  <a:pt x="2459312" y="235825"/>
                </a:lnTo>
                <a:lnTo>
                  <a:pt x="2099960" y="235825"/>
                </a:lnTo>
                <a:close/>
                <a:moveTo>
                  <a:pt x="1675477" y="0"/>
                </a:moveTo>
                <a:lnTo>
                  <a:pt x="1980926" y="0"/>
                </a:lnTo>
                <a:lnTo>
                  <a:pt x="1980926" y="536782"/>
                </a:lnTo>
                <a:lnTo>
                  <a:pt x="1868629" y="413255"/>
                </a:lnTo>
                <a:cubicBezTo>
                  <a:pt x="1857399" y="402025"/>
                  <a:pt x="1839432" y="395287"/>
                  <a:pt x="1828202" y="395287"/>
                </a:cubicBezTo>
                <a:cubicBezTo>
                  <a:pt x="1812480" y="395287"/>
                  <a:pt x="1799005" y="402025"/>
                  <a:pt x="1787775" y="413255"/>
                </a:cubicBezTo>
                <a:lnTo>
                  <a:pt x="1675477" y="536782"/>
                </a:lnTo>
                <a:close/>
                <a:moveTo>
                  <a:pt x="1192598" y="0"/>
                </a:moveTo>
                <a:lnTo>
                  <a:pt x="1551950" y="0"/>
                </a:lnTo>
                <a:lnTo>
                  <a:pt x="1551950" y="235825"/>
                </a:lnTo>
                <a:lnTo>
                  <a:pt x="1192598" y="235825"/>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8DFE4EF0-D4E0-4AA3-8E61-53605BE491BD}"/>
              </a:ext>
            </a:extLst>
          </p:cNvPr>
          <p:cNvSpPr>
            <a:spLocks/>
          </p:cNvSpPr>
          <p:nvPr/>
        </p:nvSpPr>
        <p:spPr>
          <a:xfrm>
            <a:off x="2534742" y="4503759"/>
            <a:ext cx="457444" cy="466864"/>
          </a:xfrm>
          <a:custGeom>
            <a:avLst/>
            <a:gdLst>
              <a:gd name="connsiteX0" fmla="*/ 2124350 w 2710874"/>
              <a:gd name="connsiteY0" fmla="*/ 2488222 h 2801704"/>
              <a:gd name="connsiteX1" fmla="*/ 2153346 w 2710874"/>
              <a:gd name="connsiteY1" fmla="*/ 2504088 h 2801704"/>
              <a:gd name="connsiteX2" fmla="*/ 2201490 w 2710874"/>
              <a:gd name="connsiteY2" fmla="*/ 2565362 h 2801704"/>
              <a:gd name="connsiteX3" fmla="*/ 2192737 w 2710874"/>
              <a:gd name="connsiteY3" fmla="*/ 2626636 h 2801704"/>
              <a:gd name="connsiteX4" fmla="*/ 2131463 w 2710874"/>
              <a:gd name="connsiteY4" fmla="*/ 2617883 h 2801704"/>
              <a:gd name="connsiteX5" fmla="*/ 2083318 w 2710874"/>
              <a:gd name="connsiteY5" fmla="*/ 2556609 h 2801704"/>
              <a:gd name="connsiteX6" fmla="*/ 2092071 w 2710874"/>
              <a:gd name="connsiteY6" fmla="*/ 2495334 h 2801704"/>
              <a:gd name="connsiteX7" fmla="*/ 2124350 w 2710874"/>
              <a:gd name="connsiteY7" fmla="*/ 2488222 h 2801704"/>
              <a:gd name="connsiteX8" fmla="*/ 710123 w 2710874"/>
              <a:gd name="connsiteY8" fmla="*/ 2488222 h 2801704"/>
              <a:gd name="connsiteX9" fmla="*/ 744043 w 2710874"/>
              <a:gd name="connsiteY9" fmla="*/ 2495334 h 2801704"/>
              <a:gd name="connsiteX10" fmla="*/ 752797 w 2710874"/>
              <a:gd name="connsiteY10" fmla="*/ 2556609 h 2801704"/>
              <a:gd name="connsiteX11" fmla="*/ 704653 w 2710874"/>
              <a:gd name="connsiteY11" fmla="*/ 2617883 h 2801704"/>
              <a:gd name="connsiteX12" fmla="*/ 643378 w 2710874"/>
              <a:gd name="connsiteY12" fmla="*/ 2626636 h 2801704"/>
              <a:gd name="connsiteX13" fmla="*/ 634624 w 2710874"/>
              <a:gd name="connsiteY13" fmla="*/ 2565362 h 2801704"/>
              <a:gd name="connsiteX14" fmla="*/ 682769 w 2710874"/>
              <a:gd name="connsiteY14" fmla="*/ 2504088 h 2801704"/>
              <a:gd name="connsiteX15" fmla="*/ 710123 w 2710874"/>
              <a:gd name="connsiteY15" fmla="*/ 2488222 h 2801704"/>
              <a:gd name="connsiteX16" fmla="*/ 1400550 w 2710874"/>
              <a:gd name="connsiteY16" fmla="*/ 1234839 h 2801704"/>
              <a:gd name="connsiteX17" fmla="*/ 1404926 w 2710874"/>
              <a:gd name="connsiteY17" fmla="*/ 1243593 h 2801704"/>
              <a:gd name="connsiteX18" fmla="*/ 1553735 w 2710874"/>
              <a:gd name="connsiteY18" fmla="*/ 1392401 h 2801704"/>
              <a:gd name="connsiteX19" fmla="*/ 1606255 w 2710874"/>
              <a:gd name="connsiteY19" fmla="*/ 2477827 h 2801704"/>
              <a:gd name="connsiteX20" fmla="*/ 1877612 w 2710874"/>
              <a:gd name="connsiteY20" fmla="*/ 2294005 h 2801704"/>
              <a:gd name="connsiteX21" fmla="*/ 2249633 w 2710874"/>
              <a:gd name="connsiteY21" fmla="*/ 2294005 h 2801704"/>
              <a:gd name="connsiteX22" fmla="*/ 2696058 w 2710874"/>
              <a:gd name="connsiteY22" fmla="*/ 2727300 h 2801704"/>
              <a:gd name="connsiteX23" fmla="*/ 2696058 w 2710874"/>
              <a:gd name="connsiteY23" fmla="*/ 2788574 h 2801704"/>
              <a:gd name="connsiteX24" fmla="*/ 2634784 w 2710874"/>
              <a:gd name="connsiteY24" fmla="*/ 2788574 h 2801704"/>
              <a:gd name="connsiteX25" fmla="*/ 2188359 w 2710874"/>
              <a:gd name="connsiteY25" fmla="*/ 2355279 h 2801704"/>
              <a:gd name="connsiteX26" fmla="*/ 1925756 w 2710874"/>
              <a:gd name="connsiteY26" fmla="*/ 2364032 h 2801704"/>
              <a:gd name="connsiteX27" fmla="*/ 1610632 w 2710874"/>
              <a:gd name="connsiteY27" fmla="*/ 2578491 h 2801704"/>
              <a:gd name="connsiteX28" fmla="*/ 1619386 w 2710874"/>
              <a:gd name="connsiteY28" fmla="*/ 2753560 h 2801704"/>
              <a:gd name="connsiteX29" fmla="*/ 1606255 w 2710874"/>
              <a:gd name="connsiteY29" fmla="*/ 2784197 h 2801704"/>
              <a:gd name="connsiteX30" fmla="*/ 1575618 w 2710874"/>
              <a:gd name="connsiteY30" fmla="*/ 2797327 h 2801704"/>
              <a:gd name="connsiteX31" fmla="*/ 1225481 w 2710874"/>
              <a:gd name="connsiteY31" fmla="*/ 2797327 h 2801704"/>
              <a:gd name="connsiteX32" fmla="*/ 1194844 w 2710874"/>
              <a:gd name="connsiteY32" fmla="*/ 2784197 h 2801704"/>
              <a:gd name="connsiteX33" fmla="*/ 1181714 w 2710874"/>
              <a:gd name="connsiteY33" fmla="*/ 2753560 h 2801704"/>
              <a:gd name="connsiteX34" fmla="*/ 1190467 w 2710874"/>
              <a:gd name="connsiteY34" fmla="*/ 2578491 h 2801704"/>
              <a:gd name="connsiteX35" fmla="*/ 875344 w 2710874"/>
              <a:gd name="connsiteY35" fmla="*/ 2364032 h 2801704"/>
              <a:gd name="connsiteX36" fmla="*/ 612741 w 2710874"/>
              <a:gd name="connsiteY36" fmla="*/ 2355279 h 2801704"/>
              <a:gd name="connsiteX37" fmla="*/ 166316 w 2710874"/>
              <a:gd name="connsiteY37" fmla="*/ 2788574 h 2801704"/>
              <a:gd name="connsiteX38" fmla="*/ 105042 w 2710874"/>
              <a:gd name="connsiteY38" fmla="*/ 2788574 h 2801704"/>
              <a:gd name="connsiteX39" fmla="*/ 105042 w 2710874"/>
              <a:gd name="connsiteY39" fmla="*/ 2727300 h 2801704"/>
              <a:gd name="connsiteX40" fmla="*/ 551467 w 2710874"/>
              <a:gd name="connsiteY40" fmla="*/ 2294005 h 2801704"/>
              <a:gd name="connsiteX41" fmla="*/ 923488 w 2710874"/>
              <a:gd name="connsiteY41" fmla="*/ 2294005 h 2801704"/>
              <a:gd name="connsiteX42" fmla="*/ 1194844 w 2710874"/>
              <a:gd name="connsiteY42" fmla="*/ 2477827 h 2801704"/>
              <a:gd name="connsiteX43" fmla="*/ 1247365 w 2710874"/>
              <a:gd name="connsiteY43" fmla="*/ 1392401 h 2801704"/>
              <a:gd name="connsiteX44" fmla="*/ 1396173 w 2710874"/>
              <a:gd name="connsiteY44" fmla="*/ 1243593 h 2801704"/>
              <a:gd name="connsiteX45" fmla="*/ 369286 w 2710874"/>
              <a:gd name="connsiteY45" fmla="*/ 987554 h 2801704"/>
              <a:gd name="connsiteX46" fmla="*/ 481439 w 2710874"/>
              <a:gd name="connsiteY46" fmla="*/ 1046640 h 2801704"/>
              <a:gd name="connsiteX47" fmla="*/ 529583 w 2710874"/>
              <a:gd name="connsiteY47" fmla="*/ 1077277 h 2801704"/>
              <a:gd name="connsiteX48" fmla="*/ 573350 w 2710874"/>
              <a:gd name="connsiteY48" fmla="*/ 1121045 h 2801704"/>
              <a:gd name="connsiteX49" fmla="*/ 529583 w 2710874"/>
              <a:gd name="connsiteY49" fmla="*/ 1164812 h 2801704"/>
              <a:gd name="connsiteX50" fmla="*/ 415788 w 2710874"/>
              <a:gd name="connsiteY50" fmla="*/ 1107915 h 2801704"/>
              <a:gd name="connsiteX51" fmla="*/ 319501 w 2710874"/>
              <a:gd name="connsiteY51" fmla="*/ 1107915 h 2801704"/>
              <a:gd name="connsiteX52" fmla="*/ 91911 w 2710874"/>
              <a:gd name="connsiteY52" fmla="*/ 1107915 h 2801704"/>
              <a:gd name="connsiteX53" fmla="*/ 43768 w 2710874"/>
              <a:gd name="connsiteY53" fmla="*/ 1077277 h 2801704"/>
              <a:gd name="connsiteX54" fmla="*/ 0 w 2710874"/>
              <a:gd name="connsiteY54" fmla="*/ 1033510 h 2801704"/>
              <a:gd name="connsiteX55" fmla="*/ 43768 w 2710874"/>
              <a:gd name="connsiteY55" fmla="*/ 989743 h 2801704"/>
              <a:gd name="connsiteX56" fmla="*/ 157562 w 2710874"/>
              <a:gd name="connsiteY56" fmla="*/ 1046640 h 2801704"/>
              <a:gd name="connsiteX57" fmla="*/ 253850 w 2710874"/>
              <a:gd name="connsiteY57" fmla="*/ 1046640 h 2801704"/>
              <a:gd name="connsiteX58" fmla="*/ 369286 w 2710874"/>
              <a:gd name="connsiteY58" fmla="*/ 987554 h 2801704"/>
              <a:gd name="connsiteX59" fmla="*/ 1715674 w 2710874"/>
              <a:gd name="connsiteY59" fmla="*/ 941599 h 2801704"/>
              <a:gd name="connsiteX60" fmla="*/ 2262763 w 2710874"/>
              <a:gd name="connsiteY60" fmla="*/ 1668134 h 2801704"/>
              <a:gd name="connsiteX61" fmla="*/ 2258387 w 2710874"/>
              <a:gd name="connsiteY61" fmla="*/ 1725032 h 2801704"/>
              <a:gd name="connsiteX62" fmla="*/ 2201489 w 2710874"/>
              <a:gd name="connsiteY62" fmla="*/ 1729408 h 2801704"/>
              <a:gd name="connsiteX63" fmla="*/ 1474954 w 2710874"/>
              <a:gd name="connsiteY63" fmla="*/ 1182319 h 2801704"/>
              <a:gd name="connsiteX64" fmla="*/ 1715674 w 2710874"/>
              <a:gd name="connsiteY64" fmla="*/ 941599 h 2801704"/>
              <a:gd name="connsiteX65" fmla="*/ 1089803 w 2710874"/>
              <a:gd name="connsiteY65" fmla="*/ 941599 h 2801704"/>
              <a:gd name="connsiteX66" fmla="*/ 1330522 w 2710874"/>
              <a:gd name="connsiteY66" fmla="*/ 1177942 h 2801704"/>
              <a:gd name="connsiteX67" fmla="*/ 603987 w 2710874"/>
              <a:gd name="connsiteY67" fmla="*/ 1725032 h 2801704"/>
              <a:gd name="connsiteX68" fmla="*/ 547090 w 2710874"/>
              <a:gd name="connsiteY68" fmla="*/ 1720655 h 2801704"/>
              <a:gd name="connsiteX69" fmla="*/ 542713 w 2710874"/>
              <a:gd name="connsiteY69" fmla="*/ 1668134 h 2801704"/>
              <a:gd name="connsiteX70" fmla="*/ 1089803 w 2710874"/>
              <a:gd name="connsiteY70" fmla="*/ 941599 h 2801704"/>
              <a:gd name="connsiteX71" fmla="*/ 2013290 w 2710874"/>
              <a:gd name="connsiteY71" fmla="*/ 858441 h 2801704"/>
              <a:gd name="connsiteX72" fmla="*/ 2144591 w 2710874"/>
              <a:gd name="connsiteY72" fmla="*/ 928469 h 2801704"/>
              <a:gd name="connsiteX73" fmla="*/ 2280270 w 2710874"/>
              <a:gd name="connsiteY73" fmla="*/ 928469 h 2801704"/>
              <a:gd name="connsiteX74" fmla="*/ 2547250 w 2710874"/>
              <a:gd name="connsiteY74" fmla="*/ 928469 h 2801704"/>
              <a:gd name="connsiteX75" fmla="*/ 2617277 w 2710874"/>
              <a:gd name="connsiteY75" fmla="*/ 967859 h 2801704"/>
              <a:gd name="connsiteX76" fmla="*/ 2661045 w 2710874"/>
              <a:gd name="connsiteY76" fmla="*/ 1011626 h 2801704"/>
              <a:gd name="connsiteX77" fmla="*/ 2617277 w 2710874"/>
              <a:gd name="connsiteY77" fmla="*/ 1055394 h 2801704"/>
              <a:gd name="connsiteX78" fmla="*/ 2485976 w 2710874"/>
              <a:gd name="connsiteY78" fmla="*/ 985366 h 2801704"/>
              <a:gd name="connsiteX79" fmla="*/ 2350298 w 2710874"/>
              <a:gd name="connsiteY79" fmla="*/ 985366 h 2801704"/>
              <a:gd name="connsiteX80" fmla="*/ 2083317 w 2710874"/>
              <a:gd name="connsiteY80" fmla="*/ 985366 h 2801704"/>
              <a:gd name="connsiteX81" fmla="*/ 2013290 w 2710874"/>
              <a:gd name="connsiteY81" fmla="*/ 945976 h 2801704"/>
              <a:gd name="connsiteX82" fmla="*/ 1969522 w 2710874"/>
              <a:gd name="connsiteY82" fmla="*/ 902209 h 2801704"/>
              <a:gd name="connsiteX83" fmla="*/ 2013290 w 2710874"/>
              <a:gd name="connsiteY83" fmla="*/ 858441 h 2801704"/>
              <a:gd name="connsiteX84" fmla="*/ 1425596 w 2710874"/>
              <a:gd name="connsiteY84" fmla="*/ 630724 h 2801704"/>
              <a:gd name="connsiteX85" fmla="*/ 1601878 w 2710874"/>
              <a:gd name="connsiteY85" fmla="*/ 994120 h 2801704"/>
              <a:gd name="connsiteX86" fmla="*/ 1400549 w 2710874"/>
              <a:gd name="connsiteY86" fmla="*/ 1103538 h 2801704"/>
              <a:gd name="connsiteX87" fmla="*/ 1352406 w 2710874"/>
              <a:gd name="connsiteY87" fmla="*/ 635229 h 2801704"/>
              <a:gd name="connsiteX88" fmla="*/ 1425596 w 2710874"/>
              <a:gd name="connsiteY88" fmla="*/ 630724 h 2801704"/>
              <a:gd name="connsiteX89" fmla="*/ 539978 w 2710874"/>
              <a:gd name="connsiteY89" fmla="*/ 593650 h 2801704"/>
              <a:gd name="connsiteX90" fmla="*/ 652131 w 2710874"/>
              <a:gd name="connsiteY90" fmla="*/ 652736 h 2801704"/>
              <a:gd name="connsiteX91" fmla="*/ 700275 w 2710874"/>
              <a:gd name="connsiteY91" fmla="*/ 683373 h 2801704"/>
              <a:gd name="connsiteX92" fmla="*/ 744042 w 2710874"/>
              <a:gd name="connsiteY92" fmla="*/ 727141 h 2801704"/>
              <a:gd name="connsiteX93" fmla="*/ 700275 w 2710874"/>
              <a:gd name="connsiteY93" fmla="*/ 770908 h 2801704"/>
              <a:gd name="connsiteX94" fmla="*/ 586480 w 2710874"/>
              <a:gd name="connsiteY94" fmla="*/ 714011 h 2801704"/>
              <a:gd name="connsiteX95" fmla="*/ 490193 w 2710874"/>
              <a:gd name="connsiteY95" fmla="*/ 714011 h 2801704"/>
              <a:gd name="connsiteX96" fmla="*/ 266980 w 2710874"/>
              <a:gd name="connsiteY96" fmla="*/ 714011 h 2801704"/>
              <a:gd name="connsiteX97" fmla="*/ 218836 w 2710874"/>
              <a:gd name="connsiteY97" fmla="*/ 683373 h 2801704"/>
              <a:gd name="connsiteX98" fmla="*/ 170692 w 2710874"/>
              <a:gd name="connsiteY98" fmla="*/ 639606 h 2801704"/>
              <a:gd name="connsiteX99" fmla="*/ 214460 w 2710874"/>
              <a:gd name="connsiteY99" fmla="*/ 595839 h 2801704"/>
              <a:gd name="connsiteX100" fmla="*/ 328254 w 2710874"/>
              <a:gd name="connsiteY100" fmla="*/ 652736 h 2801704"/>
              <a:gd name="connsiteX101" fmla="*/ 424542 w 2710874"/>
              <a:gd name="connsiteY101" fmla="*/ 652736 h 2801704"/>
              <a:gd name="connsiteX102" fmla="*/ 539978 w 2710874"/>
              <a:gd name="connsiteY102" fmla="*/ 593650 h 2801704"/>
              <a:gd name="connsiteX103" fmla="*/ 2231579 w 2710874"/>
              <a:gd name="connsiteY103" fmla="*/ 58 h 2801704"/>
              <a:gd name="connsiteX104" fmla="*/ 2258387 w 2710874"/>
              <a:gd name="connsiteY104" fmla="*/ 13735 h 2801704"/>
              <a:gd name="connsiteX105" fmla="*/ 2262763 w 2710874"/>
              <a:gd name="connsiteY105" fmla="*/ 70633 h 2801704"/>
              <a:gd name="connsiteX106" fmla="*/ 1715674 w 2710874"/>
              <a:gd name="connsiteY106" fmla="*/ 797168 h 2801704"/>
              <a:gd name="connsiteX107" fmla="*/ 1474954 w 2710874"/>
              <a:gd name="connsiteY107" fmla="*/ 556448 h 2801704"/>
              <a:gd name="connsiteX108" fmla="*/ 2201489 w 2710874"/>
              <a:gd name="connsiteY108" fmla="*/ 9359 h 2801704"/>
              <a:gd name="connsiteX109" fmla="*/ 2231579 w 2710874"/>
              <a:gd name="connsiteY109" fmla="*/ 58 h 2801704"/>
              <a:gd name="connsiteX110" fmla="*/ 575538 w 2710874"/>
              <a:gd name="connsiteY110" fmla="*/ 58 h 2801704"/>
              <a:gd name="connsiteX111" fmla="*/ 603987 w 2710874"/>
              <a:gd name="connsiteY111" fmla="*/ 9359 h 2801704"/>
              <a:gd name="connsiteX112" fmla="*/ 1330522 w 2710874"/>
              <a:gd name="connsiteY112" fmla="*/ 556448 h 2801704"/>
              <a:gd name="connsiteX113" fmla="*/ 1089802 w 2710874"/>
              <a:gd name="connsiteY113" fmla="*/ 797168 h 2801704"/>
              <a:gd name="connsiteX114" fmla="*/ 542713 w 2710874"/>
              <a:gd name="connsiteY114" fmla="*/ 70633 h 2801704"/>
              <a:gd name="connsiteX115" fmla="*/ 547089 w 2710874"/>
              <a:gd name="connsiteY115" fmla="*/ 13735 h 2801704"/>
              <a:gd name="connsiteX116" fmla="*/ 575538 w 2710874"/>
              <a:gd name="connsiteY116" fmla="*/ 58 h 280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710874" h="2801704">
                <a:moveTo>
                  <a:pt x="2124350" y="2488222"/>
                </a:moveTo>
                <a:cubicBezTo>
                  <a:pt x="2135839" y="2489863"/>
                  <a:pt x="2146781" y="2495334"/>
                  <a:pt x="2153346" y="2504088"/>
                </a:cubicBezTo>
                <a:lnTo>
                  <a:pt x="2201490" y="2565362"/>
                </a:lnTo>
                <a:cubicBezTo>
                  <a:pt x="2214620" y="2582869"/>
                  <a:pt x="2210244" y="2613506"/>
                  <a:pt x="2192737" y="2626636"/>
                </a:cubicBezTo>
                <a:cubicBezTo>
                  <a:pt x="2175230" y="2639766"/>
                  <a:pt x="2144593" y="2635390"/>
                  <a:pt x="2131463" y="2617883"/>
                </a:cubicBezTo>
                <a:lnTo>
                  <a:pt x="2083318" y="2556609"/>
                </a:lnTo>
                <a:cubicBezTo>
                  <a:pt x="2070188" y="2539102"/>
                  <a:pt x="2074564" y="2508465"/>
                  <a:pt x="2092071" y="2495334"/>
                </a:cubicBezTo>
                <a:cubicBezTo>
                  <a:pt x="2100825" y="2488769"/>
                  <a:pt x="2112861" y="2486581"/>
                  <a:pt x="2124350" y="2488222"/>
                </a:cubicBezTo>
                <a:close/>
                <a:moveTo>
                  <a:pt x="710123" y="2488222"/>
                </a:moveTo>
                <a:cubicBezTo>
                  <a:pt x="721065" y="2486581"/>
                  <a:pt x="733101" y="2488769"/>
                  <a:pt x="744043" y="2495334"/>
                </a:cubicBezTo>
                <a:cubicBezTo>
                  <a:pt x="765927" y="2508465"/>
                  <a:pt x="765927" y="2539102"/>
                  <a:pt x="752797" y="2556609"/>
                </a:cubicBezTo>
                <a:lnTo>
                  <a:pt x="704653" y="2617883"/>
                </a:lnTo>
                <a:cubicBezTo>
                  <a:pt x="691522" y="2639766"/>
                  <a:pt x="660884" y="2639766"/>
                  <a:pt x="643378" y="2626636"/>
                </a:cubicBezTo>
                <a:cubicBezTo>
                  <a:pt x="621494" y="2613506"/>
                  <a:pt x="621494" y="2582869"/>
                  <a:pt x="634624" y="2565362"/>
                </a:cubicBezTo>
                <a:lnTo>
                  <a:pt x="682769" y="2504088"/>
                </a:lnTo>
                <a:cubicBezTo>
                  <a:pt x="689334" y="2495334"/>
                  <a:pt x="699181" y="2489863"/>
                  <a:pt x="710123" y="2488222"/>
                </a:cubicBezTo>
                <a:close/>
                <a:moveTo>
                  <a:pt x="1400550" y="1234839"/>
                </a:moveTo>
                <a:lnTo>
                  <a:pt x="1404926" y="1243593"/>
                </a:lnTo>
                <a:cubicBezTo>
                  <a:pt x="1448694" y="1291737"/>
                  <a:pt x="1496838" y="1344257"/>
                  <a:pt x="1553735" y="1392401"/>
                </a:cubicBezTo>
                <a:lnTo>
                  <a:pt x="1606255" y="2477827"/>
                </a:lnTo>
                <a:lnTo>
                  <a:pt x="1877612" y="2294005"/>
                </a:lnTo>
                <a:cubicBezTo>
                  <a:pt x="2070187" y="2162703"/>
                  <a:pt x="2153345" y="2202094"/>
                  <a:pt x="2249633" y="2294005"/>
                </a:cubicBezTo>
                <a:lnTo>
                  <a:pt x="2696058" y="2727300"/>
                </a:lnTo>
                <a:cubicBezTo>
                  <a:pt x="2713565" y="2744807"/>
                  <a:pt x="2717941" y="2771067"/>
                  <a:pt x="2696058" y="2788574"/>
                </a:cubicBezTo>
                <a:cubicBezTo>
                  <a:pt x="2678551" y="2806081"/>
                  <a:pt x="2652291" y="2806081"/>
                  <a:pt x="2634784" y="2788574"/>
                </a:cubicBezTo>
                <a:lnTo>
                  <a:pt x="2188359" y="2355279"/>
                </a:lnTo>
                <a:cubicBezTo>
                  <a:pt x="2122708" y="2289628"/>
                  <a:pt x="2083317" y="2258991"/>
                  <a:pt x="1925756" y="2364032"/>
                </a:cubicBezTo>
                <a:lnTo>
                  <a:pt x="1610632" y="2578491"/>
                </a:lnTo>
                <a:lnTo>
                  <a:pt x="1619386" y="2753560"/>
                </a:lnTo>
                <a:cubicBezTo>
                  <a:pt x="1619386" y="2762313"/>
                  <a:pt x="1615009" y="2775444"/>
                  <a:pt x="1606255" y="2784197"/>
                </a:cubicBezTo>
                <a:cubicBezTo>
                  <a:pt x="1597502" y="2792951"/>
                  <a:pt x="1588749" y="2797327"/>
                  <a:pt x="1575618" y="2797327"/>
                </a:cubicBezTo>
                <a:lnTo>
                  <a:pt x="1225481" y="2797327"/>
                </a:lnTo>
                <a:cubicBezTo>
                  <a:pt x="1216728" y="2797327"/>
                  <a:pt x="1203597" y="2792951"/>
                  <a:pt x="1194844" y="2784197"/>
                </a:cubicBezTo>
                <a:cubicBezTo>
                  <a:pt x="1186091" y="2775444"/>
                  <a:pt x="1181714" y="2766690"/>
                  <a:pt x="1181714" y="2753560"/>
                </a:cubicBezTo>
                <a:lnTo>
                  <a:pt x="1190467" y="2578491"/>
                </a:lnTo>
                <a:lnTo>
                  <a:pt x="875344" y="2364032"/>
                </a:lnTo>
                <a:cubicBezTo>
                  <a:pt x="717782" y="2258991"/>
                  <a:pt x="678391" y="2289628"/>
                  <a:pt x="612741" y="2355279"/>
                </a:cubicBezTo>
                <a:cubicBezTo>
                  <a:pt x="573350" y="2390293"/>
                  <a:pt x="271357" y="2687909"/>
                  <a:pt x="166316" y="2788574"/>
                </a:cubicBezTo>
                <a:cubicBezTo>
                  <a:pt x="148809" y="2806081"/>
                  <a:pt x="122548" y="2806081"/>
                  <a:pt x="105042" y="2788574"/>
                </a:cubicBezTo>
                <a:cubicBezTo>
                  <a:pt x="87535" y="2771067"/>
                  <a:pt x="87535" y="2744807"/>
                  <a:pt x="105042" y="2727300"/>
                </a:cubicBezTo>
                <a:cubicBezTo>
                  <a:pt x="210083" y="2622259"/>
                  <a:pt x="516453" y="2329019"/>
                  <a:pt x="551467" y="2294005"/>
                </a:cubicBezTo>
                <a:cubicBezTo>
                  <a:pt x="643378" y="2202094"/>
                  <a:pt x="730912" y="2162703"/>
                  <a:pt x="923488" y="2294005"/>
                </a:cubicBezTo>
                <a:lnTo>
                  <a:pt x="1194844" y="2477827"/>
                </a:lnTo>
                <a:lnTo>
                  <a:pt x="1247365" y="1392401"/>
                </a:lnTo>
                <a:cubicBezTo>
                  <a:pt x="1299885" y="1348634"/>
                  <a:pt x="1352406" y="1296113"/>
                  <a:pt x="1396173" y="1243593"/>
                </a:cubicBezTo>
                <a:close/>
                <a:moveTo>
                  <a:pt x="369286" y="987554"/>
                </a:moveTo>
                <a:cubicBezTo>
                  <a:pt x="408129" y="987554"/>
                  <a:pt x="446426" y="1007250"/>
                  <a:pt x="481439" y="1046640"/>
                </a:cubicBezTo>
                <a:cubicBezTo>
                  <a:pt x="498946" y="1068524"/>
                  <a:pt x="507700" y="1077277"/>
                  <a:pt x="529583" y="1077277"/>
                </a:cubicBezTo>
                <a:cubicBezTo>
                  <a:pt x="555843" y="1077277"/>
                  <a:pt x="573350" y="1094785"/>
                  <a:pt x="573350" y="1121045"/>
                </a:cubicBezTo>
                <a:cubicBezTo>
                  <a:pt x="573350" y="1147306"/>
                  <a:pt x="555843" y="1164812"/>
                  <a:pt x="529583" y="1164812"/>
                </a:cubicBezTo>
                <a:cubicBezTo>
                  <a:pt x="468309" y="1164812"/>
                  <a:pt x="437672" y="1134175"/>
                  <a:pt x="415788" y="1107915"/>
                </a:cubicBezTo>
                <a:cubicBezTo>
                  <a:pt x="380775" y="1068524"/>
                  <a:pt x="358891" y="1068524"/>
                  <a:pt x="319501" y="1107915"/>
                </a:cubicBezTo>
                <a:cubicBezTo>
                  <a:pt x="249473" y="1186696"/>
                  <a:pt x="166316" y="1186696"/>
                  <a:pt x="91911" y="1107915"/>
                </a:cubicBezTo>
                <a:cubicBezTo>
                  <a:pt x="74405" y="1086030"/>
                  <a:pt x="65651" y="1077277"/>
                  <a:pt x="43768" y="1077277"/>
                </a:cubicBezTo>
                <a:cubicBezTo>
                  <a:pt x="17507" y="1077277"/>
                  <a:pt x="0" y="1059770"/>
                  <a:pt x="0" y="1033510"/>
                </a:cubicBezTo>
                <a:cubicBezTo>
                  <a:pt x="0" y="1007250"/>
                  <a:pt x="17507" y="989743"/>
                  <a:pt x="43768" y="989743"/>
                </a:cubicBezTo>
                <a:cubicBezTo>
                  <a:pt x="105042" y="989743"/>
                  <a:pt x="135679" y="1020380"/>
                  <a:pt x="157562" y="1046640"/>
                </a:cubicBezTo>
                <a:cubicBezTo>
                  <a:pt x="192576" y="1086030"/>
                  <a:pt x="214460" y="1086030"/>
                  <a:pt x="253850" y="1046640"/>
                </a:cubicBezTo>
                <a:cubicBezTo>
                  <a:pt x="291052" y="1007250"/>
                  <a:pt x="330443" y="987554"/>
                  <a:pt x="369286" y="987554"/>
                </a:cubicBezTo>
                <a:close/>
                <a:moveTo>
                  <a:pt x="1715674" y="941599"/>
                </a:moveTo>
                <a:cubicBezTo>
                  <a:pt x="2022044" y="1204202"/>
                  <a:pt x="2245256" y="1637497"/>
                  <a:pt x="2262763" y="1668134"/>
                </a:cubicBezTo>
                <a:cubicBezTo>
                  <a:pt x="2275894" y="1685641"/>
                  <a:pt x="2275894" y="1711901"/>
                  <a:pt x="2258387" y="1725032"/>
                </a:cubicBezTo>
                <a:cubicBezTo>
                  <a:pt x="2240880" y="1738162"/>
                  <a:pt x="2218996" y="1742539"/>
                  <a:pt x="2201489" y="1729408"/>
                </a:cubicBezTo>
                <a:cubicBezTo>
                  <a:pt x="2175229" y="1711901"/>
                  <a:pt x="1741934" y="1488689"/>
                  <a:pt x="1474954" y="1182319"/>
                </a:cubicBezTo>
                <a:cubicBezTo>
                  <a:pt x="1588749" y="1156058"/>
                  <a:pt x="1689413" y="1068524"/>
                  <a:pt x="1715674" y="941599"/>
                </a:cubicBezTo>
                <a:close/>
                <a:moveTo>
                  <a:pt x="1089803" y="941599"/>
                </a:moveTo>
                <a:cubicBezTo>
                  <a:pt x="1116063" y="1055394"/>
                  <a:pt x="1203598" y="1156058"/>
                  <a:pt x="1330522" y="1177942"/>
                </a:cubicBezTo>
                <a:cubicBezTo>
                  <a:pt x="1098556" y="1449298"/>
                  <a:pt x="757172" y="1628744"/>
                  <a:pt x="603987" y="1725032"/>
                </a:cubicBezTo>
                <a:cubicBezTo>
                  <a:pt x="586480" y="1738162"/>
                  <a:pt x="560220" y="1733785"/>
                  <a:pt x="547090" y="1720655"/>
                </a:cubicBezTo>
                <a:cubicBezTo>
                  <a:pt x="533960" y="1707525"/>
                  <a:pt x="529583" y="1685641"/>
                  <a:pt x="542713" y="1668134"/>
                </a:cubicBezTo>
                <a:cubicBezTo>
                  <a:pt x="678392" y="1431792"/>
                  <a:pt x="866590" y="1134175"/>
                  <a:pt x="1089803" y="941599"/>
                </a:cubicBezTo>
                <a:close/>
                <a:moveTo>
                  <a:pt x="2013290" y="858441"/>
                </a:moveTo>
                <a:cubicBezTo>
                  <a:pt x="2083317" y="858441"/>
                  <a:pt x="2118331" y="897832"/>
                  <a:pt x="2144591" y="928469"/>
                </a:cubicBezTo>
                <a:cubicBezTo>
                  <a:pt x="2197112" y="980989"/>
                  <a:pt x="2232126" y="980989"/>
                  <a:pt x="2280270" y="928469"/>
                </a:cubicBezTo>
                <a:cubicBezTo>
                  <a:pt x="2367805" y="836558"/>
                  <a:pt x="2459716" y="836558"/>
                  <a:pt x="2547250" y="928469"/>
                </a:cubicBezTo>
                <a:cubicBezTo>
                  <a:pt x="2573510" y="954729"/>
                  <a:pt x="2586640" y="967859"/>
                  <a:pt x="2617277" y="967859"/>
                </a:cubicBezTo>
                <a:cubicBezTo>
                  <a:pt x="2643538" y="967859"/>
                  <a:pt x="2661045" y="985366"/>
                  <a:pt x="2661045" y="1011626"/>
                </a:cubicBezTo>
                <a:cubicBezTo>
                  <a:pt x="2661045" y="1037887"/>
                  <a:pt x="2643538" y="1055394"/>
                  <a:pt x="2617277" y="1055394"/>
                </a:cubicBezTo>
                <a:cubicBezTo>
                  <a:pt x="2547250" y="1055394"/>
                  <a:pt x="2512236" y="1016003"/>
                  <a:pt x="2485976" y="985366"/>
                </a:cubicBezTo>
                <a:cubicBezTo>
                  <a:pt x="2437832" y="928469"/>
                  <a:pt x="2402818" y="928469"/>
                  <a:pt x="2350298" y="985366"/>
                </a:cubicBezTo>
                <a:cubicBezTo>
                  <a:pt x="2262763" y="1077277"/>
                  <a:pt x="2170851" y="1077277"/>
                  <a:pt x="2083317" y="985366"/>
                </a:cubicBezTo>
                <a:cubicBezTo>
                  <a:pt x="2057057" y="959106"/>
                  <a:pt x="2043927" y="945976"/>
                  <a:pt x="2013290" y="945976"/>
                </a:cubicBezTo>
                <a:cubicBezTo>
                  <a:pt x="1987029" y="945976"/>
                  <a:pt x="1969522" y="928469"/>
                  <a:pt x="1969522" y="902209"/>
                </a:cubicBezTo>
                <a:cubicBezTo>
                  <a:pt x="1969522" y="875948"/>
                  <a:pt x="1987029" y="858441"/>
                  <a:pt x="2013290" y="858441"/>
                </a:cubicBezTo>
                <a:close/>
                <a:moveTo>
                  <a:pt x="1425596" y="630724"/>
                </a:moveTo>
                <a:cubicBezTo>
                  <a:pt x="1589911" y="646581"/>
                  <a:pt x="1701449" y="837106"/>
                  <a:pt x="1601878" y="994120"/>
                </a:cubicBezTo>
                <a:cubicBezTo>
                  <a:pt x="1553734" y="1064147"/>
                  <a:pt x="1479330" y="1103538"/>
                  <a:pt x="1400549" y="1103538"/>
                </a:cubicBezTo>
                <a:cubicBezTo>
                  <a:pt x="1124816" y="1103538"/>
                  <a:pt x="1081049" y="700880"/>
                  <a:pt x="1352406" y="635229"/>
                </a:cubicBezTo>
                <a:cubicBezTo>
                  <a:pt x="1377572" y="629758"/>
                  <a:pt x="1402123" y="628459"/>
                  <a:pt x="1425596" y="630724"/>
                </a:cubicBezTo>
                <a:close/>
                <a:moveTo>
                  <a:pt x="539978" y="593650"/>
                </a:moveTo>
                <a:cubicBezTo>
                  <a:pt x="578821" y="593650"/>
                  <a:pt x="617118" y="613346"/>
                  <a:pt x="652131" y="652736"/>
                </a:cubicBezTo>
                <a:cubicBezTo>
                  <a:pt x="669638" y="674620"/>
                  <a:pt x="678392" y="683373"/>
                  <a:pt x="700275" y="683373"/>
                </a:cubicBezTo>
                <a:cubicBezTo>
                  <a:pt x="726535" y="683373"/>
                  <a:pt x="744042" y="700881"/>
                  <a:pt x="744042" y="727141"/>
                </a:cubicBezTo>
                <a:cubicBezTo>
                  <a:pt x="744042" y="753402"/>
                  <a:pt x="726535" y="770908"/>
                  <a:pt x="700275" y="770908"/>
                </a:cubicBezTo>
                <a:cubicBezTo>
                  <a:pt x="639001" y="770908"/>
                  <a:pt x="608364" y="740271"/>
                  <a:pt x="586480" y="714011"/>
                </a:cubicBezTo>
                <a:cubicBezTo>
                  <a:pt x="551467" y="674620"/>
                  <a:pt x="529583" y="674620"/>
                  <a:pt x="490193" y="714011"/>
                </a:cubicBezTo>
                <a:cubicBezTo>
                  <a:pt x="420165" y="792792"/>
                  <a:pt x="337008" y="792792"/>
                  <a:pt x="266980" y="714011"/>
                </a:cubicBezTo>
                <a:cubicBezTo>
                  <a:pt x="249473" y="692126"/>
                  <a:pt x="240720" y="683373"/>
                  <a:pt x="218836" y="683373"/>
                </a:cubicBezTo>
                <a:cubicBezTo>
                  <a:pt x="196953" y="683373"/>
                  <a:pt x="175069" y="665866"/>
                  <a:pt x="170692" y="639606"/>
                </a:cubicBezTo>
                <a:cubicBezTo>
                  <a:pt x="170692" y="613346"/>
                  <a:pt x="188199" y="595839"/>
                  <a:pt x="214460" y="595839"/>
                </a:cubicBezTo>
                <a:cubicBezTo>
                  <a:pt x="275734" y="595839"/>
                  <a:pt x="306371" y="626476"/>
                  <a:pt x="328254" y="652736"/>
                </a:cubicBezTo>
                <a:cubicBezTo>
                  <a:pt x="363268" y="692126"/>
                  <a:pt x="385152" y="692126"/>
                  <a:pt x="424542" y="652736"/>
                </a:cubicBezTo>
                <a:cubicBezTo>
                  <a:pt x="461744" y="613346"/>
                  <a:pt x="501134" y="593650"/>
                  <a:pt x="539978" y="593650"/>
                </a:cubicBezTo>
                <a:close/>
                <a:moveTo>
                  <a:pt x="2231579" y="58"/>
                </a:moveTo>
                <a:cubicBezTo>
                  <a:pt x="2241974" y="605"/>
                  <a:pt x="2251822" y="4982"/>
                  <a:pt x="2258387" y="13735"/>
                </a:cubicBezTo>
                <a:cubicBezTo>
                  <a:pt x="2275894" y="31242"/>
                  <a:pt x="2275894" y="53126"/>
                  <a:pt x="2262763" y="70633"/>
                </a:cubicBezTo>
                <a:cubicBezTo>
                  <a:pt x="2131462" y="285092"/>
                  <a:pt x="1965147" y="582709"/>
                  <a:pt x="1715674" y="797168"/>
                </a:cubicBezTo>
                <a:cubicBezTo>
                  <a:pt x="1689413" y="670243"/>
                  <a:pt x="1588749" y="578332"/>
                  <a:pt x="1474954" y="556448"/>
                </a:cubicBezTo>
                <a:cubicBezTo>
                  <a:pt x="1737557" y="250078"/>
                  <a:pt x="2179606" y="26866"/>
                  <a:pt x="2201489" y="9359"/>
                </a:cubicBezTo>
                <a:cubicBezTo>
                  <a:pt x="2210243" y="2794"/>
                  <a:pt x="2221184" y="-489"/>
                  <a:pt x="2231579" y="58"/>
                </a:cubicBezTo>
                <a:close/>
                <a:moveTo>
                  <a:pt x="575538" y="58"/>
                </a:moveTo>
                <a:cubicBezTo>
                  <a:pt x="585386" y="-489"/>
                  <a:pt x="595234" y="2794"/>
                  <a:pt x="603987" y="9359"/>
                </a:cubicBezTo>
                <a:cubicBezTo>
                  <a:pt x="625870" y="18112"/>
                  <a:pt x="1076672" y="263208"/>
                  <a:pt x="1330522" y="556448"/>
                </a:cubicBezTo>
                <a:cubicBezTo>
                  <a:pt x="1207974" y="582709"/>
                  <a:pt x="1116063" y="678996"/>
                  <a:pt x="1089802" y="797168"/>
                </a:cubicBezTo>
                <a:cubicBezTo>
                  <a:pt x="831576" y="578332"/>
                  <a:pt x="665261" y="267585"/>
                  <a:pt x="542713" y="70633"/>
                </a:cubicBezTo>
                <a:cubicBezTo>
                  <a:pt x="529583" y="53126"/>
                  <a:pt x="529583" y="26866"/>
                  <a:pt x="547089" y="13735"/>
                </a:cubicBezTo>
                <a:cubicBezTo>
                  <a:pt x="555842" y="4982"/>
                  <a:pt x="565690" y="605"/>
                  <a:pt x="575538" y="58"/>
                </a:cubicBezTo>
                <a:close/>
              </a:path>
            </a:pathLst>
          </a:custGeom>
          <a:solidFill>
            <a:schemeClr val="bg1"/>
          </a:solidFill>
          <a:ln w="0">
            <a:noFill/>
            <a:prstDash val="solid"/>
            <a:round/>
            <a:headEnd/>
            <a:tailEnd/>
          </a:ln>
        </p:spPr>
        <p:txBody>
          <a:bodyPr rtlCol="0" anchor="ctr"/>
          <a:lstStyle/>
          <a:p>
            <a:endParaRPr lang="en-US"/>
          </a:p>
        </p:txBody>
      </p:sp>
      <p:sp>
        <p:nvSpPr>
          <p:cNvPr id="65" name="Title 2">
            <a:extLst>
              <a:ext uri="{FF2B5EF4-FFF2-40B4-BE49-F238E27FC236}">
                <a16:creationId xmlns:a16="http://schemas.microsoft.com/office/drawing/2014/main" id="{AED073D3-F5C5-440B-A016-0C94F5120BB8}"/>
              </a:ext>
            </a:extLst>
          </p:cNvPr>
          <p:cNvSpPr>
            <a:spLocks noGrp="1"/>
          </p:cNvSpPr>
          <p:nvPr>
            <p:ph type="title"/>
          </p:nvPr>
        </p:nvSpPr>
        <p:spPr>
          <a:xfrm>
            <a:off x="738000" y="720000"/>
            <a:ext cx="8535988" cy="747897"/>
          </a:xfrm>
        </p:spPr>
        <p:txBody>
          <a:bodyPr vert="horz"/>
          <a:lstStyle/>
          <a:p>
            <a:r>
              <a:rPr lang="en-US"/>
              <a:t>Extensive changes in energy technologies are expected in </a:t>
            </a:r>
            <a:r>
              <a:rPr lang="en-US" err="1"/>
              <a:t>CAREC</a:t>
            </a:r>
            <a:r>
              <a:rPr lang="en-US"/>
              <a:t> – Renewables and grid upgrade are key to energy transition</a:t>
            </a:r>
          </a:p>
        </p:txBody>
      </p:sp>
      <p:sp>
        <p:nvSpPr>
          <p:cNvPr id="70" name="Subtitle">
            <a:extLst>
              <a:ext uri="{FF2B5EF4-FFF2-40B4-BE49-F238E27FC236}">
                <a16:creationId xmlns:a16="http://schemas.microsoft.com/office/drawing/2014/main" id="{617CF9E1-BC2A-43B9-9A05-764580C2FC1B}"/>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a:solidFill>
                  <a:schemeClr val="tx2"/>
                </a:solidFill>
                <a:latin typeface="+mn-lt"/>
                <a:sym typeface="+mn-lt"/>
              </a:rPr>
              <a:t>Regional</a:t>
            </a:r>
            <a:r>
              <a:rPr lang="en-US" sz="2100" b="0">
                <a:solidFill>
                  <a:schemeClr val="tx2"/>
                </a:solidFill>
                <a:latin typeface="+mn-lt"/>
                <a:cs typeface="+mn-cs"/>
                <a:sym typeface="+mn-lt"/>
              </a:rPr>
              <a:t> level – Technology Outlook</a:t>
            </a:r>
          </a:p>
        </p:txBody>
      </p:sp>
      <p:sp>
        <p:nvSpPr>
          <p:cNvPr id="71" name="rbStamp_Illustrative">
            <a:extLst>
              <a:ext uri="{FF2B5EF4-FFF2-40B4-BE49-F238E27FC236}">
                <a16:creationId xmlns:a16="http://schemas.microsoft.com/office/drawing/2014/main" id="{17D359D2-6198-403E-917B-813A1210379C}"/>
              </a:ext>
            </a:extLst>
          </p:cNvPr>
          <p:cNvSpPr txBox="1"/>
          <p:nvPr/>
        </p:nvSpPr>
        <p:spPr>
          <a:xfrm>
            <a:off x="7016262" y="1712535"/>
            <a:ext cx="1628611"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en-US">
                <a:solidFill>
                  <a:schemeClr val="accent6"/>
                </a:solidFill>
                <a:latin typeface="+mn-lt"/>
                <a:cs typeface="Arial Narrow" pitchFamily="34" charset="0"/>
              </a:rPr>
              <a:t>In cooperation with ILF</a:t>
            </a:r>
            <a:endParaRPr lang="uk-UA" noProof="0">
              <a:solidFill>
                <a:schemeClr val="accent6"/>
              </a:solidFill>
              <a:latin typeface="+mn-lt"/>
              <a:cs typeface="Arial Narrow" pitchFamily="34" charset="0"/>
            </a:endParaRPr>
          </a:p>
        </p:txBody>
      </p:sp>
      <p:pic>
        <p:nvPicPr>
          <p:cNvPr id="72" name="Picture 13">
            <a:extLst>
              <a:ext uri="{FF2B5EF4-FFF2-40B4-BE49-F238E27FC236}">
                <a16:creationId xmlns:a16="http://schemas.microsoft.com/office/drawing/2014/main" id="{25BAEDCD-D7F5-4E0E-9CAA-216EAC31E75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
        <p:nvSpPr>
          <p:cNvPr id="73" name="RbNavigator">
            <a:extLst>
              <a:ext uri="{FF2B5EF4-FFF2-40B4-BE49-F238E27FC236}">
                <a16:creationId xmlns:a16="http://schemas.microsoft.com/office/drawing/2014/main" id="{F9581D1B-EBF8-414B-9DEC-86BA1634B8AE}"/>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a:solidFill>
                  <a:schemeClr val="bg1"/>
                </a:solidFill>
                <a:latin typeface="+mn-lt"/>
                <a:cs typeface="Arial Narrow" pitchFamily="34" charset="0"/>
              </a:rPr>
              <a:t>B</a:t>
            </a:r>
            <a:endParaRPr kumimoji="1" lang="en-US" noProof="0">
              <a:solidFill>
                <a:schemeClr val="bg1"/>
              </a:solidFill>
              <a:latin typeface="+mn-lt"/>
              <a:cs typeface="Arial Narrow" pitchFamily="34" charset="0"/>
            </a:endParaRPr>
          </a:p>
        </p:txBody>
      </p:sp>
      <p:sp>
        <p:nvSpPr>
          <p:cNvPr id="74" name="RbSticker">
            <a:extLst>
              <a:ext uri="{FF2B5EF4-FFF2-40B4-BE49-F238E27FC236}">
                <a16:creationId xmlns:a16="http://schemas.microsoft.com/office/drawing/2014/main" id="{C0D03F49-A54F-4DF2-96B0-1DB28C5FAECC}"/>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en-US">
                <a:solidFill>
                  <a:schemeClr val="accent3"/>
                </a:solidFill>
                <a:latin typeface="+mn-lt"/>
                <a:cs typeface="Arial Narrow" pitchFamily="34" charset="0"/>
              </a:rPr>
              <a:t>Outlook summary</a:t>
            </a:r>
          </a:p>
        </p:txBody>
      </p:sp>
      <p:sp>
        <p:nvSpPr>
          <p:cNvPr id="44" name="Source">
            <a:extLst>
              <a:ext uri="{FF2B5EF4-FFF2-40B4-BE49-F238E27FC236}">
                <a16:creationId xmlns:a16="http://schemas.microsoft.com/office/drawing/2014/main" id="{02CEA55C-C48D-4EBB-BD34-E14CD73CD911}"/>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en-US" sz="900" b="0">
                <a:solidFill>
                  <a:schemeClr val="tx1"/>
                </a:solidFill>
                <a:latin typeface="+mn-lt"/>
                <a:cs typeface="+mn-cs"/>
                <a:sym typeface="+mn-lt"/>
              </a:rPr>
              <a:t>Source: </a:t>
            </a:r>
            <a:r>
              <a:rPr lang="en-US" sz="900" b="0">
                <a:latin typeface="+mn-lt"/>
                <a:sym typeface="+mn-lt"/>
              </a:rPr>
              <a:t>Roland Berger</a:t>
            </a:r>
            <a:endParaRPr lang="en-US" sz="900" b="0">
              <a:solidFill>
                <a:schemeClr val="tx1"/>
              </a:solidFill>
              <a:latin typeface="+mn-lt"/>
              <a:cs typeface="+mn-cs"/>
              <a:sym typeface="+mn-lt"/>
            </a:endParaRPr>
          </a:p>
        </p:txBody>
      </p:sp>
    </p:spTree>
    <p:extLst>
      <p:ext uri="{BB962C8B-B14F-4D97-AF65-F5344CB8AC3E}">
        <p14:creationId xmlns:p14="http://schemas.microsoft.com/office/powerpoint/2010/main" val="244037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2.41928372642346944943E+00&quot;&gt;&lt;m_msothmcolidx val=&quot;0&quot;/&gt;&lt;m_rgb r=&quot;FF&quot; g=&quot;FF&quot; b=&quot;FF&quot;/&gt;&lt;/elem&gt;&lt;elem m_fUsage=&quot;1.12193100000000001160E+00&quot;&gt;&lt;m_msothmcolidx val=&quot;0&quot;/&gt;&lt;m_rgb r=&quot;F2&quot; g=&quot;F3&quot; b=&quot;F4&quot;/&gt;&lt;/elem&gt;&lt;elem m_fUsage=&quot;1.11265689728265959602E+00&quot;&gt;&lt;m_msothmcolidx val=&quot;0&quot;/&gt;&lt;m_rgb r=&quot;F1&quot; g=&quot;CE&quot; b=&quot;63&quot;/&gt;&lt;/elem&gt;&lt;elem m_fUsage=&quot;9.00000000000000022204E-01&quot;&gt;&lt;m_msothmcolidx val=&quot;0&quot;/&gt;&lt;m_rgb r=&quot;D7&quot; g=&quot;E0&quot; b=&quot;EB&quot;/&gt;&lt;/elem&gt;&lt;elem m_fUsage=&quot;8.96151881657621385280E-01&quot;&gt;&lt;m_msothmcolidx val=&quot;0&quot;/&gt;&lt;m_rgb r=&quot;D5&quot; g=&quot;DF&quot; b=&quot;EA&quot;/&gt;&lt;/elem&gt;&lt;elem m_fUsage=&quot;8.10000000000000053291E-01&quot;&gt;&lt;m_msothmcolidx val=&quot;0&quot;/&gt;&lt;m_rgb r=&quot;AB&quot; g=&quot;DE&quot; b=&quot;E9&quot;/&gt;&lt;/elem&gt;&lt;elem m_fUsage=&quot;7.47796374417058040684E-01&quot;&gt;&lt;m_msothmcolidx val=&quot;0&quot;/&gt;&lt;m_rgb r=&quot;25&quot; g=&quot;7F&quot; b=&quot;F3&quot;/&gt;&lt;/elem&gt;&lt;elem m_fUsage=&quot;4.78296900000000135833E-01&quot;&gt;&lt;m_msothmcolidx val=&quot;0&quot;/&gt;&lt;m_rgb r=&quot;F4&quot; g=&quot;F5&quot; b=&quot;F6&quot;/&gt;&lt;/elem&gt;&lt;elem m_fUsage=&quot;4.30467210000000155556E-01&quot;&gt;&lt;m_msothmcolidx val=&quot;0&quot;/&gt;&lt;m_rgb r=&quot;C9&quot; g=&quot;CB&quot; b=&quot;D0&quot;/&gt;&lt;/elem&gt;&lt;elem m_fUsage=&quot;3.48678440100000153201E-01&quot;&gt;&lt;m_msothmcolidx val=&quot;0&quot;/&gt;&lt;m_rgb r=&quot;1E&quot; g=&quot;A2&quot; b=&quot;0F&quot;/&gt;&lt;/elem&gt;&lt;elem m_fUsage=&quot;1.75095319198042997932E-01&quot;&gt;&lt;m_msothmcolidx val=&quot;0&quot;/&gt;&lt;m_rgb r=&quot;7F&quot; g=&quot;7F&quot; b=&quot;7F&quot;/&gt;&lt;/elem&gt;&lt;elem m_fUsage=&quot;8.86293811965250810658E-02&quot;&gt;&lt;m_msothmcolidx val=&quot;0&quot;/&gt;&lt;m_rgb r=&quot;4F&quot; g=&quot;B1&quot; b=&quot;E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8CxeJ50aj6v3RnshUIJ2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1bOOYqutbxvngg6QgDiI1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o_akO08wdvTQpJOwOOCp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sawFZvlmuEfLEbS5X_T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6MChsL2rZz7zpwjPIxu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FV3MlE7pkKWiW65iMqk8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4nZRgFwMO0L2FL379Dh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Qm_rj.0Eb6SFD1CYODm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MZrgQdXG7gwopX2aBuj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dcCPn041SimNReMGw4q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1tfOg1kvFDoAPhfKCmFY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Z8HWGm75kFE612phIRmd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rUUoRLBBi5I2_fWL.E_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04hnBz7aYVtqCv0HYvS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rokzgvAFsQBLmnxJ7.k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SOotYaqKQp9kxoz4P6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2z82_jbcL8DAM61mfeJd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l2auPm_OhgGjDxojy39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B_rNzxtIxM7edmzlTHZ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bx_2rJk1V78oxQABcVy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nh77uKeUcPg7cjeU_go1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hA1EjAmKTz7e.SCD4LX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jK.5MWk1LP0I1bHsiM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PDHnkE38RbrkUZa2Rjd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PnVSHYMAYXEtKl9DvFgl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jvnFKCWD_VakHc6u4BQ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BjDBYAmLDbfiaOs1YJ4V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pPt9_VAj5gOLlqx65iHZ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8L.UapCRbilEi_DK5Ki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wFg50W2zeh6bfrOKkHE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txOn_GY3GjVEn98Zz9KG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TpsGaM5tBKz1w49vaAL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ls6EjpMSw8Dcas4b73md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gxQqvqXB2zgc8e45Pqq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6yQfIvt_83GSnakzrUpk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jXeUBAQd9wEuGZqywfyK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fs4xZJVrGP6IXP6YvN5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Fjb.6qb4DqscHw98V0M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ayoGhQ3pJLDD6M5iFbL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J.tROcfMf8GB9Ft14L64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YHDbgyE6qKu_vunrCS1q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PFjsB.NTxDpQfDbD1o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B59C_Mqoq4otpJwU6ek6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u7DxZ2o4KDUzUL_QS7p2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03BSo9wdSQFMW9kNGihLL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i6z0b1W8gjXQ8ujvIMn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vM2HfmlbIfBHCze9o3X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MPlkw6IdVPP6ao6AFI6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LYDzwT4Mvr5Jvco007M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mBXsMCPbnxkO7aipjYy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SC4PGpYOvYpDvs2znlL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jVaPTUmYmnwYTC8lAF6R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hUb02Ns9ty7gsjCgKVd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wv0TujyROQljm0Tqf8zY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346xCF.ERUC4J8mz_rMZ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WH1_iMgIndytMyHBSld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lDBY6YerCyRqDC30Glf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AQhioJJ.rb7CoTkdN4V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VzyVwzemeSSoSymiX79h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evIVXmEuNBved.Z.QHRqY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MHCfSqucBLrnZ2.EPD9w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NuFv7u7Sc6UJ.i83YPjq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nonymmd1EU_wdNCzVwk2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3VC1LHbEpDyhgGoYUEs3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ibx.Gzr22bu1HyQsiIP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Bo28DeGTlanOPLDA4OP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QntkYrczg6grfMWP1qsN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xavzNQu6TVM_0l.frLEV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ZUtMAO_EgNHuGDQnxG8u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ti3EBHw3wdkxLJyFtflE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hEocD7vmtLIqC0YcBNqx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TnHzMFqS3S0UixNQkdd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A1aa6qcJHR2u9PxNiNqc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IoqPWZY8dxToaeTsA_MH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TIfLZKF8m1LUVLBQX5G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NZ8BQA0uHdzHoURn2UQD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yP9nvFhJoy0A7iVeT.zt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MlMEl9PikSl7ShCYQwpR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7msStVG08lgpWBcjNlF5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iV2YIkkT_uCtSYH.XByq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MwkQoO0GRlQ.IGqvNMT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gCvxeb_1UP8xgUrqFGfX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co0aiP6c_EThO_D.pqF6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xtTFcUb_mWaUuuJEtcn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oZXEY8UIdFf6qMYFPo2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WKKUY9HhpyCXHr9TkN6_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MdZi11M8DAypxxebakG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T5WRMJBSauCgiqlapWk0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sWEYo3swfv5YkktpDghE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txsPLT6KhcU1DZgHTaUk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UQQdgCe8mrl3JJVpcOVg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YIn0cTB0vK.a4GoaVar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eIIXNihxfMkxg2BbiaW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SqaCOem5YcPpKu5SG2FXI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9_6InfyvsmZD1lwOdS3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5jyOa7ivxRXr3YyxeIW9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8DBHD34lH7wONqQS_u28O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N4RqFPG87hzMOdIr6Qbv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EZCP8Gk8Aini.Rs8eRGvJ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x.qea2VvEAxC08MGNJnR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FunAutuDFpivgtvVk6l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5naZNd14vEJRXisvXrkx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1DcUV8HPq3ane75kO_1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PTp4BRbBrw6zN6DOgI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ANhN99SuZeMO_URnM4F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wFg50W2zeh6bfrOKkHE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Z2DEVS5ll9rhrw4WPLD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egkGThglCvOMMOo.0t5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tBIrR6JSP0TwxXd8D2O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LAEDVDE0G3aVhMoxNe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xf90HJe0SY7HokgLni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8fHfbsSdk.pz_94jrvF5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vgnHtfILk651G7TeRgF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tuiMAWxhEqec7XNiNMz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Psh3EuUS0qcde2zYhJf3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CBYULKVREK8UOGTv16C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dZA6v3_w0qMbfPK6.In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2figIpX5EOLspKcoQZs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W_HLkLHnkSwmhsKuui4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pWOtPnHUuoPjZm4Ksh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edEAN5keU2w0ITZ4i3A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QgdnxJC0.BNCEwrNJ1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zfR5pGu5EafjnVIti91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Wj7gE7uI0arTs_M7N.09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aWifGTbke62YVOK_cw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fmRKJiFW.eHKVIBYZFS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l452c7JQJ71_SHwtoO2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G_hzGw2a9fO0TzUiCNK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vOVt7T4WF.6UftQOij2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TMEuahZ69KT0bhnf6FU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cEfxrIrHr3CrqIdMqaA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1fe7JUzXxZdwu2fgD0H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vXapeCxOLoMHbVrPNcA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AC16Lt.J.Xn7uclQPWkf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yCQtJS_jNBsr0ORtwMO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F9AHSR7FFoBbDSgM8lc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_E75OjAuElsN3F5gMC9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ojMYwzflvFZB5Rk6yqP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UdFkx43sdtr.uoeD2VZ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oPcxWQaBSjI17ww.w_s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r2Xsiq7raNA791B1uHj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2hHcfQLLYkAeA_SQPvH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fQqgofpJWsL1789vVwH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0qQsIaDUPW52TRUihFvS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sIICMNpg66wA70i8.YO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Z.ogRnwcItN3LVTk8Ju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O3pwgXZovBTks7Ns7ad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Cex.gT5DwNQng4d.IxW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xR8vUSEOD3z1JBHBBfOH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bjRBjvc33aTOOZ2.cgt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1w8Be9xujOCsFzbJxQ4A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hbvbinaUYXjDQf1qN.k7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OOnrTudYFTrmD9yu.lv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GNO6IMtrtEu0BLerm23l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h69JcjemcM4k38jmCBC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AqzYc9WY2oktK4OuEDX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fkvIVwbFPDW7TBB6Ije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iWktcKwVaYyoGntdJKy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2Oj6N_Dsq9nAg2it5P0V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qGxngasjLmSRMovdBe0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EUap7bE3VFUo2A359U5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TN18.qIcI4KUptgONS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CkLEeEthajfs2Dx23Hc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IL3aR8L6pFdJJc.iNBh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srCro1SLj_T_iaV1vc0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Nsx_RBIa85p4I2pYg_F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QQJv0IWP5AUlx78DTXC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F0N44idTe6jgvZEe6DZYA"/>
</p:tagLst>
</file>

<file path=ppt/theme/theme1.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1fdd505-2570-46c2-bd04-3e0f2d874cf5" xsi:nil="true"/>
    <SharedWithUsers xmlns="f668aa56-9285-4561-92d6-d6343913a899">
      <UserInfo>
        <DisplayName>Kaznacheev, Peter</DisplayName>
        <AccountId>12</AccountId>
        <AccountType/>
      </UserInfo>
      <UserInfo>
        <DisplayName>Fundulea, Dragos</DisplayName>
        <AccountId>26</AccountId>
        <AccountType/>
      </UserInfo>
      <UserInfo>
        <DisplayName>Prusvic, Jan</DisplayName>
        <AccountId>14</AccountId>
        <AccountType/>
      </UserInfo>
      <UserInfo>
        <DisplayName>Prysyazhnenko, Oleksandra</DisplayName>
        <AccountId>28</AccountId>
        <AccountType/>
      </UserInfo>
      <UserInfo>
        <DisplayName>Becker, Andreas</DisplayName>
        <AccountId>9</AccountId>
        <AccountType/>
      </UserInfo>
    </SharedWithUsers>
    <lcf76f155ced4ddcb4097134ff3c332f xmlns="4d0bf39f-aee5-4194-a8cf-9eb94d9779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617F3F8-5DC0-48DA-ADCD-C30E3AEAA920}">
  <ds:schemaRefs>
    <ds:schemaRef ds:uri="http://schemas.microsoft.com/sharepoint/v3/contenttype/forms"/>
  </ds:schemaRefs>
</ds:datastoreItem>
</file>

<file path=customXml/itemProps2.xml><?xml version="1.0" encoding="utf-8"?>
<ds:datastoreItem xmlns:ds="http://schemas.openxmlformats.org/officeDocument/2006/customXml" ds:itemID="{94C4D5B8-CA2A-403B-A5A6-A239A919F614}"/>
</file>

<file path=customXml/itemProps3.xml><?xml version="1.0" encoding="utf-8"?>
<ds:datastoreItem xmlns:ds="http://schemas.openxmlformats.org/officeDocument/2006/customXml" ds:itemID="{22525751-1885-480D-BDF1-D8B2BF36D9EC}">
  <ds:schemaRefs>
    <ds:schemaRef ds:uri="6b7ecf61-d561-4d33-ac1d-4d3e1aeb6f3f"/>
    <ds:schemaRef ds:uri="d5c4af91-23a9-471d-a652-cae301a62d1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4_RB_PPT</Template>
  <Application>Microsoft Office PowerPoint</Application>
  <PresentationFormat>A4 Paper (210x297 mm)</PresentationFormat>
  <Slides>12</Slides>
  <Notes>7</Notes>
  <HiddenSlides>0</HiddenSlide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A4_RB_PPT</vt:lpstr>
      <vt:lpstr>Regional Energy Investment Outlook</vt:lpstr>
      <vt:lpstr>Main topics and objective of this presentation</vt:lpstr>
      <vt:lpstr>The Outlook investigates the future of CAREC energy until 2030  via 3 scenarios with objective to inform decision-making by investors</vt:lpstr>
      <vt:lpstr>Three scenarios are defined to assess development under various policy measures and subsequent energy mixes and efficiency levels</vt:lpstr>
      <vt:lpstr>The Outlook consists of four key elements, all assessed on two levels – Aggregated for region and country-specific</vt:lpstr>
      <vt:lpstr>PowerPoint Presentation</vt:lpstr>
      <vt:lpstr>Despite improvements in efficiency, energy demand is projected to grow until 2030 due to rapid economic and population growth </vt:lpstr>
      <vt:lpstr>Fuel price volatility has been a key feature of energy markets        – it may put some extra downward pressure on energy demand </vt:lpstr>
      <vt:lpstr>Extensive changes in energy technologies are expected in CAREC – Renewables and grid upgrade are key to energy transition</vt:lpstr>
      <vt:lpstr>Large investment needs are driven by existing inefficiencies in infrastructure and growing pressure to decarbonize energy use</vt:lpstr>
      <vt:lpstr>Scenarios showcase potential energy-related emission curves in light of climate-related commitments of each country </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usvic, Jan</dc:creator>
  <cp:revision>1</cp:revision>
  <dcterms:created xsi:type="dcterms:W3CDTF">2019-12-16T22:48:02Z</dcterms:created>
  <dcterms:modified xsi:type="dcterms:W3CDTF">2022-04-14T12:1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DAEA74914DCF4CB1BBCF0E2E5EDB11</vt:lpwstr>
  </property>
</Properties>
</file>